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7" r:id="rId1"/>
  </p:sldMasterIdLst>
  <p:notesMasterIdLst>
    <p:notesMasterId r:id="rId36"/>
  </p:notesMasterIdLst>
  <p:handoutMasterIdLst>
    <p:handoutMasterId r:id="rId37"/>
  </p:handoutMasterIdLst>
  <p:sldIdLst>
    <p:sldId id="376" r:id="rId2"/>
    <p:sldId id="427" r:id="rId3"/>
    <p:sldId id="406" r:id="rId4"/>
    <p:sldId id="426" r:id="rId5"/>
    <p:sldId id="452" r:id="rId6"/>
    <p:sldId id="453" r:id="rId7"/>
    <p:sldId id="431" r:id="rId8"/>
    <p:sldId id="428" r:id="rId9"/>
    <p:sldId id="433" r:id="rId10"/>
    <p:sldId id="440" r:id="rId11"/>
    <p:sldId id="437" r:id="rId12"/>
    <p:sldId id="441" r:id="rId13"/>
    <p:sldId id="455" r:id="rId14"/>
    <p:sldId id="444" r:id="rId15"/>
    <p:sldId id="445" r:id="rId16"/>
    <p:sldId id="446" r:id="rId17"/>
    <p:sldId id="448" r:id="rId18"/>
    <p:sldId id="449" r:id="rId19"/>
    <p:sldId id="456" r:id="rId20"/>
    <p:sldId id="458" r:id="rId21"/>
    <p:sldId id="419" r:id="rId22"/>
    <p:sldId id="429" r:id="rId23"/>
    <p:sldId id="436" r:id="rId24"/>
    <p:sldId id="434" r:id="rId25"/>
    <p:sldId id="435" r:id="rId26"/>
    <p:sldId id="463" r:id="rId27"/>
    <p:sldId id="459" r:id="rId28"/>
    <p:sldId id="460" r:id="rId29"/>
    <p:sldId id="461" r:id="rId30"/>
    <p:sldId id="462" r:id="rId31"/>
    <p:sldId id="439" r:id="rId32"/>
    <p:sldId id="443" r:id="rId33"/>
    <p:sldId id="447" r:id="rId34"/>
    <p:sldId id="464" r:id="rId35"/>
  </p:sldIdLst>
  <p:sldSz cx="10160000" cy="5715000"/>
  <p:notesSz cx="6797675" cy="9928225"/>
  <p:custDataLst>
    <p:tags r:id="rId38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72" userDrawn="1">
          <p15:clr>
            <a:srgbClr val="A4A3A4"/>
          </p15:clr>
        </p15:guide>
        <p15:guide id="2" pos="5871" userDrawn="1">
          <p15:clr>
            <a:srgbClr val="A4A3A4"/>
          </p15:clr>
        </p15:guide>
        <p15:guide id="5" pos="3099" userDrawn="1">
          <p15:clr>
            <a:srgbClr val="A4A3A4"/>
          </p15:clr>
        </p15:guide>
        <p15:guide id="6" orient="horz" pos="3252" userDrawn="1">
          <p15:clr>
            <a:srgbClr val="A4A3A4"/>
          </p15:clr>
        </p15:guide>
        <p15:guide id="9" pos="176" userDrawn="1">
          <p15:clr>
            <a:srgbClr val="A4A3A4"/>
          </p15:clr>
        </p15:guide>
        <p15:guide id="11" orient="horz" pos="621" userDrawn="1">
          <p15:clr>
            <a:srgbClr val="A4A3A4"/>
          </p15:clr>
        </p15:guide>
        <p15:guide id="13" orient="horz" pos="167" userDrawn="1">
          <p15:clr>
            <a:srgbClr val="A4A3A4"/>
          </p15:clr>
        </p15:guide>
        <p15:guide id="14" pos="6400" userDrawn="1">
          <p15:clr>
            <a:srgbClr val="A4A3A4"/>
          </p15:clr>
        </p15:guide>
        <p15:guide id="15" orient="horz" pos="938" userDrawn="1">
          <p15:clr>
            <a:srgbClr val="A4A3A4"/>
          </p15:clr>
        </p15:guide>
        <p15:guide id="16" orient="horz" pos="802" userDrawn="1">
          <p15:clr>
            <a:srgbClr val="A4A3A4"/>
          </p15:clr>
        </p15:guide>
        <p15:guide id="18" orient="horz" pos="3569" userDrawn="1">
          <p15:clr>
            <a:srgbClr val="A4A3A4"/>
          </p15:clr>
        </p15:guide>
        <p15:guide id="19" orient="horz" pos="1074" userDrawn="1">
          <p15:clr>
            <a:srgbClr val="A4A3A4"/>
          </p15:clr>
        </p15:guide>
        <p15:guide id="20" orient="horz" pos="2163" userDrawn="1">
          <p15:clr>
            <a:srgbClr val="A4A3A4"/>
          </p15:clr>
        </p15:guide>
        <p15:guide id="21" pos="3200" userDrawn="1">
          <p15:clr>
            <a:srgbClr val="A4A3A4"/>
          </p15:clr>
        </p15:guide>
        <p15:guide id="22" pos="1991" userDrawn="1">
          <p15:clr>
            <a:srgbClr val="A4A3A4"/>
          </p15:clr>
        </p15:guide>
        <p15:guide id="23" pos="299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1AC"/>
    <a:srgbClr val="E7F2F1"/>
    <a:srgbClr val="CBE4E3"/>
    <a:srgbClr val="50164A"/>
    <a:srgbClr val="6600CC"/>
    <a:srgbClr val="660066"/>
    <a:srgbClr val="FF9900"/>
    <a:srgbClr val="A6A6A6"/>
    <a:srgbClr val="FFFFFF"/>
    <a:srgbClr val="FF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AF140CF-3027-4683-B79B-0FBF16533509}" v="9615" dt="2024-09-30T11:53:19.727"/>
  </p1510:revLst>
</p1510:revInfo>
</file>

<file path=ppt/tableStyles.xml><?xml version="1.0" encoding="utf-8"?>
<a:tblStyleLst xmlns:a="http://schemas.openxmlformats.org/drawingml/2006/main" def="{5C22544A-7EE6-4342-B048-85BDC9FD1C3A}"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howGuides="1">
      <p:cViewPr>
        <p:scale>
          <a:sx n="130" d="100"/>
          <a:sy n="130" d="100"/>
        </p:scale>
        <p:origin x="102" y="90"/>
      </p:cViewPr>
      <p:guideLst>
        <p:guide orient="horz" pos="2072"/>
        <p:guide pos="5871"/>
        <p:guide pos="3099"/>
        <p:guide orient="horz" pos="3252"/>
        <p:guide pos="176"/>
        <p:guide orient="horz" pos="621"/>
        <p:guide orient="horz" pos="167"/>
        <p:guide pos="6400"/>
        <p:guide orient="horz" pos="938"/>
        <p:guide orient="horz" pos="802"/>
        <p:guide orient="horz" pos="3569"/>
        <p:guide orient="horz" pos="1074"/>
        <p:guide orient="horz" pos="2163"/>
        <p:guide pos="3200"/>
        <p:guide pos="1991"/>
        <p:guide pos="2999"/>
      </p:guideLst>
    </p:cSldViewPr>
  </p:slideViewPr>
  <p:outlineViewPr>
    <p:cViewPr>
      <p:scale>
        <a:sx n="33" d="100"/>
        <a:sy n="33" d="100"/>
      </p:scale>
      <p:origin x="0" y="-144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 showGuides="1">
      <p:cViewPr varScale="1">
        <p:scale>
          <a:sx n="82" d="100"/>
          <a:sy n="82" d="100"/>
        </p:scale>
        <p:origin x="3956" y="4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handoutMaster" Target="handoutMasters/handoutMaster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microsoft.com/office/2016/11/relationships/changesInfo" Target="changesInfos/changesInfo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shwin Sunder" userId="0dc3bf7fb9413de4" providerId="LiveId" clId="{4AF140CF-3027-4683-B79B-0FBF16533509}"/>
    <pc:docChg chg="undo redo custSel addSld delSld modSld sldOrd modMainMaster modNotesMaster modShowInfo">
      <pc:chgData name="Ashwin Sunder" userId="0dc3bf7fb9413de4" providerId="LiveId" clId="{4AF140CF-3027-4683-B79B-0FBF16533509}" dt="2024-09-30T11:53:19.727" v="24017"/>
      <pc:docMkLst>
        <pc:docMk/>
      </pc:docMkLst>
      <pc:sldChg chg="addSp delSp modSp mod delAnim modAnim modNotes">
        <pc:chgData name="Ashwin Sunder" userId="0dc3bf7fb9413de4" providerId="LiveId" clId="{4AF140CF-3027-4683-B79B-0FBF16533509}" dt="2024-09-30T11:13:04.646" v="24011" actId="732"/>
        <pc:sldMkLst>
          <pc:docMk/>
          <pc:sldMk cId="4249249067" sldId="376"/>
        </pc:sldMkLst>
        <pc:spChg chg="mod">
          <ac:chgData name="Ashwin Sunder" userId="0dc3bf7fb9413de4" providerId="LiveId" clId="{4AF140CF-3027-4683-B79B-0FBF16533509}" dt="2024-09-04T09:05:31.638" v="3567"/>
          <ac:spMkLst>
            <pc:docMk/>
            <pc:sldMk cId="4249249067" sldId="376"/>
            <ac:spMk id="10" creationId="{67590128-A1BD-EC16-87DE-75580277CEB7}"/>
          </ac:spMkLst>
        </pc:spChg>
        <pc:spChg chg="mod">
          <ac:chgData name="Ashwin Sunder" userId="0dc3bf7fb9413de4" providerId="LiveId" clId="{4AF140CF-3027-4683-B79B-0FBF16533509}" dt="2024-09-29T08:10:19.814" v="21229" actId="20577"/>
          <ac:spMkLst>
            <pc:docMk/>
            <pc:sldMk cId="4249249067" sldId="376"/>
            <ac:spMk id="11" creationId="{923ED36C-A0CF-5E14-9918-FABDF6B5CC53}"/>
          </ac:spMkLst>
        </pc:spChg>
        <pc:picChg chg="add mod">
          <ac:chgData name="Ashwin Sunder" userId="0dc3bf7fb9413de4" providerId="LiveId" clId="{4AF140CF-3027-4683-B79B-0FBF16533509}" dt="2024-09-30T10:06:09.586" v="22404"/>
          <ac:picMkLst>
            <pc:docMk/>
            <pc:sldMk cId="4249249067" sldId="376"/>
            <ac:picMk id="2" creationId="{F9411EF9-10D0-4EA7-579C-616CD090E7AF}"/>
          </ac:picMkLst>
        </pc:picChg>
        <pc:picChg chg="add del mod">
          <ac:chgData name="Ashwin Sunder" userId="0dc3bf7fb9413de4" providerId="LiveId" clId="{4AF140CF-3027-4683-B79B-0FBF16533509}" dt="2024-09-30T10:08:54.126" v="22406" actId="478"/>
          <ac:picMkLst>
            <pc:docMk/>
            <pc:sldMk cId="4249249067" sldId="376"/>
            <ac:picMk id="3" creationId="{7515683B-6EA1-FE6E-A31D-4B43100C8107}"/>
          </ac:picMkLst>
        </pc:picChg>
        <pc:picChg chg="add mod modCrop">
          <ac:chgData name="Ashwin Sunder" userId="0dc3bf7fb9413de4" providerId="LiveId" clId="{4AF140CF-3027-4683-B79B-0FBF16533509}" dt="2024-09-30T11:13:04.646" v="24011" actId="732"/>
          <ac:picMkLst>
            <pc:docMk/>
            <pc:sldMk cId="4249249067" sldId="376"/>
            <ac:picMk id="5" creationId="{1A3C1C25-5827-676C-57E7-10AEB8C09BD8}"/>
          </ac:picMkLst>
        </pc:picChg>
        <pc:picChg chg="del mod">
          <ac:chgData name="Ashwin Sunder" userId="0dc3bf7fb9413de4" providerId="LiveId" clId="{4AF140CF-3027-4683-B79B-0FBF16533509}" dt="2024-09-30T10:11:39.434" v="22413" actId="478"/>
          <ac:picMkLst>
            <pc:docMk/>
            <pc:sldMk cId="4249249067" sldId="376"/>
            <ac:picMk id="12" creationId="{256C4B69-57BD-043C-3E10-B9EADA6C1A21}"/>
          </ac:picMkLst>
        </pc:picChg>
      </pc:sldChg>
      <pc:sldChg chg="add del">
        <pc:chgData name="Ashwin Sunder" userId="0dc3bf7fb9413de4" providerId="LiveId" clId="{4AF140CF-3027-4683-B79B-0FBF16533509}" dt="2024-09-30T07:03:54.664" v="22353" actId="2696"/>
        <pc:sldMkLst>
          <pc:docMk/>
          <pc:sldMk cId="519403194" sldId="406"/>
        </pc:sldMkLst>
      </pc:sldChg>
      <pc:sldChg chg="modSp del mod">
        <pc:chgData name="Ashwin Sunder" userId="0dc3bf7fb9413de4" providerId="LiveId" clId="{4AF140CF-3027-4683-B79B-0FBF16533509}" dt="2024-09-27T09:03:03.453" v="20065" actId="2696"/>
        <pc:sldMkLst>
          <pc:docMk/>
          <pc:sldMk cId="1889127703" sldId="406"/>
        </pc:sldMkLst>
        <pc:spChg chg="mod">
          <ac:chgData name="Ashwin Sunder" userId="0dc3bf7fb9413de4" providerId="LiveId" clId="{4AF140CF-3027-4683-B79B-0FBF16533509}" dt="2024-09-04T09:05:31.638" v="3567"/>
          <ac:spMkLst>
            <pc:docMk/>
            <pc:sldMk cId="1889127703" sldId="406"/>
            <ac:spMk id="2" creationId="{856E013A-6095-74C3-F3E8-7FF1211940BF}"/>
          </ac:spMkLst>
        </pc:spChg>
        <pc:spChg chg="mod">
          <ac:chgData name="Ashwin Sunder" userId="0dc3bf7fb9413de4" providerId="LiveId" clId="{4AF140CF-3027-4683-B79B-0FBF16533509}" dt="2024-09-25T08:22:05.559" v="19808" actId="20577"/>
          <ac:spMkLst>
            <pc:docMk/>
            <pc:sldMk cId="1889127703" sldId="406"/>
            <ac:spMk id="3" creationId="{888D1A24-C230-55E6-8ECB-1193715A3FBE}"/>
          </ac:spMkLst>
        </pc:spChg>
      </pc:sldChg>
      <pc:sldChg chg="addSp modSp add mod modAnim">
        <pc:chgData name="Ashwin Sunder" userId="0dc3bf7fb9413de4" providerId="LiveId" clId="{4AF140CF-3027-4683-B79B-0FBF16533509}" dt="2024-09-30T07:14:44.433" v="22399"/>
        <pc:sldMkLst>
          <pc:docMk/>
          <pc:sldMk cId="3600445226" sldId="406"/>
        </pc:sldMkLst>
        <pc:spChg chg="mod">
          <ac:chgData name="Ashwin Sunder" userId="0dc3bf7fb9413de4" providerId="LiveId" clId="{4AF140CF-3027-4683-B79B-0FBF16533509}" dt="2024-09-30T07:13:13.654" v="22389" actId="14100"/>
          <ac:spMkLst>
            <pc:docMk/>
            <pc:sldMk cId="3600445226" sldId="406"/>
            <ac:spMk id="3" creationId="{888D1A24-C230-55E6-8ECB-1193715A3FBE}"/>
          </ac:spMkLst>
        </pc:spChg>
        <pc:picChg chg="add mod">
          <ac:chgData name="Ashwin Sunder" userId="0dc3bf7fb9413de4" providerId="LiveId" clId="{4AF140CF-3027-4683-B79B-0FBF16533509}" dt="2024-09-30T07:13:23.201" v="22391" actId="1076"/>
          <ac:picMkLst>
            <pc:docMk/>
            <pc:sldMk cId="3600445226" sldId="406"/>
            <ac:picMk id="1026" creationId="{F7090133-8368-ABA0-1869-3939CDFECF10}"/>
          </ac:picMkLst>
        </pc:picChg>
        <pc:picChg chg="add mod">
          <ac:chgData name="Ashwin Sunder" userId="0dc3bf7fb9413de4" providerId="LiveId" clId="{4AF140CF-3027-4683-B79B-0FBF16533509}" dt="2024-09-30T07:13:33.209" v="22393" actId="1076"/>
          <ac:picMkLst>
            <pc:docMk/>
            <pc:sldMk cId="3600445226" sldId="406"/>
            <ac:picMk id="1028" creationId="{7A9A4EF9-6D96-AAC3-6954-1768C77D75BE}"/>
          </ac:picMkLst>
        </pc:picChg>
        <pc:picChg chg="add mod">
          <ac:chgData name="Ashwin Sunder" userId="0dc3bf7fb9413de4" providerId="LiveId" clId="{4AF140CF-3027-4683-B79B-0FBF16533509}" dt="2024-09-30T07:13:41.510" v="22394" actId="1076"/>
          <ac:picMkLst>
            <pc:docMk/>
            <pc:sldMk cId="3600445226" sldId="406"/>
            <ac:picMk id="1030" creationId="{0457A9BC-96C1-BE76-34B1-7681B2EF0FED}"/>
          </ac:picMkLst>
        </pc:picChg>
      </pc:sldChg>
      <pc:sldChg chg="modSp del">
        <pc:chgData name="Ashwin Sunder" userId="0dc3bf7fb9413de4" providerId="LiveId" clId="{4AF140CF-3027-4683-B79B-0FBF16533509}" dt="2024-09-09T08:57:40.211" v="10817" actId="2696"/>
        <pc:sldMkLst>
          <pc:docMk/>
          <pc:sldMk cId="2527549710" sldId="407"/>
        </pc:sldMkLst>
        <pc:spChg chg="mod">
          <ac:chgData name="Ashwin Sunder" userId="0dc3bf7fb9413de4" providerId="LiveId" clId="{4AF140CF-3027-4683-B79B-0FBF16533509}" dt="2024-09-04T09:05:31.638" v="3567"/>
          <ac:spMkLst>
            <pc:docMk/>
            <pc:sldMk cId="2527549710" sldId="407"/>
            <ac:spMk id="8" creationId="{F6E900CA-CDE5-3C6C-EF92-4AEE6BA9A8EA}"/>
          </ac:spMkLst>
        </pc:spChg>
        <pc:spChg chg="mod">
          <ac:chgData name="Ashwin Sunder" userId="0dc3bf7fb9413de4" providerId="LiveId" clId="{4AF140CF-3027-4683-B79B-0FBF16533509}" dt="2024-09-04T09:05:31.638" v="3567"/>
          <ac:spMkLst>
            <pc:docMk/>
            <pc:sldMk cId="2527549710" sldId="407"/>
            <ac:spMk id="11" creationId="{AEAEE49C-612B-42F3-3CBE-841627CBAEFC}"/>
          </ac:spMkLst>
        </pc:spChg>
        <pc:spChg chg="mod">
          <ac:chgData name="Ashwin Sunder" userId="0dc3bf7fb9413de4" providerId="LiveId" clId="{4AF140CF-3027-4683-B79B-0FBF16533509}" dt="2024-09-04T09:05:31.638" v="3567"/>
          <ac:spMkLst>
            <pc:docMk/>
            <pc:sldMk cId="2527549710" sldId="407"/>
            <ac:spMk id="14" creationId="{8BCF6399-0575-30A3-CF3F-189F562E529C}"/>
          </ac:spMkLst>
        </pc:spChg>
        <pc:spChg chg="mod">
          <ac:chgData name="Ashwin Sunder" userId="0dc3bf7fb9413de4" providerId="LiveId" clId="{4AF140CF-3027-4683-B79B-0FBF16533509}" dt="2024-09-04T09:05:31.638" v="3567"/>
          <ac:spMkLst>
            <pc:docMk/>
            <pc:sldMk cId="2527549710" sldId="407"/>
            <ac:spMk id="16" creationId="{DB42A2C0-97C9-DCC0-4F66-ED732A5A5A42}"/>
          </ac:spMkLst>
        </pc:spChg>
        <pc:spChg chg="mod">
          <ac:chgData name="Ashwin Sunder" userId="0dc3bf7fb9413de4" providerId="LiveId" clId="{4AF140CF-3027-4683-B79B-0FBF16533509}" dt="2024-09-04T09:05:31.638" v="3567"/>
          <ac:spMkLst>
            <pc:docMk/>
            <pc:sldMk cId="2527549710" sldId="407"/>
            <ac:spMk id="19" creationId="{C7E42797-BA47-9DB9-C2E0-CB6BAEA5E2FC}"/>
          </ac:spMkLst>
        </pc:spChg>
        <pc:spChg chg="mod">
          <ac:chgData name="Ashwin Sunder" userId="0dc3bf7fb9413de4" providerId="LiveId" clId="{4AF140CF-3027-4683-B79B-0FBF16533509}" dt="2024-09-04T09:05:31.638" v="3567"/>
          <ac:spMkLst>
            <pc:docMk/>
            <pc:sldMk cId="2527549710" sldId="407"/>
            <ac:spMk id="22" creationId="{274308B7-C590-ABA3-D5B6-AEE949500C4F}"/>
          </ac:spMkLst>
        </pc:spChg>
        <pc:spChg chg="mod">
          <ac:chgData name="Ashwin Sunder" userId="0dc3bf7fb9413de4" providerId="LiveId" clId="{4AF140CF-3027-4683-B79B-0FBF16533509}" dt="2024-09-04T09:05:31.638" v="3567"/>
          <ac:spMkLst>
            <pc:docMk/>
            <pc:sldMk cId="2527549710" sldId="407"/>
            <ac:spMk id="26" creationId="{4B8C349E-E9BF-21EC-C6AF-9F0D147B271E}"/>
          </ac:spMkLst>
        </pc:spChg>
        <pc:spChg chg="mod">
          <ac:chgData name="Ashwin Sunder" userId="0dc3bf7fb9413de4" providerId="LiveId" clId="{4AF140CF-3027-4683-B79B-0FBF16533509}" dt="2024-09-04T09:05:31.638" v="3567"/>
          <ac:spMkLst>
            <pc:docMk/>
            <pc:sldMk cId="2527549710" sldId="407"/>
            <ac:spMk id="29" creationId="{99E8AA4E-2272-395B-BC18-EEB387ECB548}"/>
          </ac:spMkLst>
        </pc:spChg>
        <pc:spChg chg="mod">
          <ac:chgData name="Ashwin Sunder" userId="0dc3bf7fb9413de4" providerId="LiveId" clId="{4AF140CF-3027-4683-B79B-0FBF16533509}" dt="2024-09-04T09:05:31.638" v="3567"/>
          <ac:spMkLst>
            <pc:docMk/>
            <pc:sldMk cId="2527549710" sldId="407"/>
            <ac:spMk id="33" creationId="{3F4449E5-FE91-7981-604C-698CE10131FB}"/>
          </ac:spMkLst>
        </pc:spChg>
        <pc:spChg chg="mod">
          <ac:chgData name="Ashwin Sunder" userId="0dc3bf7fb9413de4" providerId="LiveId" clId="{4AF140CF-3027-4683-B79B-0FBF16533509}" dt="2024-09-04T09:05:31.638" v="3567"/>
          <ac:spMkLst>
            <pc:docMk/>
            <pc:sldMk cId="2527549710" sldId="407"/>
            <ac:spMk id="36" creationId="{0A25C6BC-B111-45B5-7C8D-F13B0A43F5A7}"/>
          </ac:spMkLst>
        </pc:spChg>
        <pc:spChg chg="mod">
          <ac:chgData name="Ashwin Sunder" userId="0dc3bf7fb9413de4" providerId="LiveId" clId="{4AF140CF-3027-4683-B79B-0FBF16533509}" dt="2024-09-04T09:05:31.638" v="3567"/>
          <ac:spMkLst>
            <pc:docMk/>
            <pc:sldMk cId="2527549710" sldId="407"/>
            <ac:spMk id="48" creationId="{82F3EBAE-3727-ACF9-340E-BD66F72E99DB}"/>
          </ac:spMkLst>
        </pc:spChg>
        <pc:spChg chg="mod">
          <ac:chgData name="Ashwin Sunder" userId="0dc3bf7fb9413de4" providerId="LiveId" clId="{4AF140CF-3027-4683-B79B-0FBF16533509}" dt="2024-09-04T09:05:31.638" v="3567"/>
          <ac:spMkLst>
            <pc:docMk/>
            <pc:sldMk cId="2527549710" sldId="407"/>
            <ac:spMk id="52" creationId="{4C3E0DA2-FAF4-5F3F-D44C-34D260EB3A6F}"/>
          </ac:spMkLst>
        </pc:spChg>
        <pc:grpChg chg="mod">
          <ac:chgData name="Ashwin Sunder" userId="0dc3bf7fb9413de4" providerId="LiveId" clId="{4AF140CF-3027-4683-B79B-0FBF16533509}" dt="2024-09-04T09:05:31.638" v="3567"/>
          <ac:grpSpMkLst>
            <pc:docMk/>
            <pc:sldMk cId="2527549710" sldId="407"/>
            <ac:grpSpMk id="6" creationId="{F57D7448-5790-D7D9-551A-CCC7E9F8BC38}"/>
          </ac:grpSpMkLst>
        </pc:grpChg>
        <pc:grpChg chg="mod">
          <ac:chgData name="Ashwin Sunder" userId="0dc3bf7fb9413de4" providerId="LiveId" clId="{4AF140CF-3027-4683-B79B-0FBF16533509}" dt="2024-09-04T09:05:31.638" v="3567"/>
          <ac:grpSpMkLst>
            <pc:docMk/>
            <pc:sldMk cId="2527549710" sldId="407"/>
            <ac:grpSpMk id="9" creationId="{4432B5CB-AAC4-7D5B-A54A-56A7733025B8}"/>
          </ac:grpSpMkLst>
        </pc:grpChg>
        <pc:grpChg chg="mod">
          <ac:chgData name="Ashwin Sunder" userId="0dc3bf7fb9413de4" providerId="LiveId" clId="{4AF140CF-3027-4683-B79B-0FBF16533509}" dt="2024-09-04T09:05:31.638" v="3567"/>
          <ac:grpSpMkLst>
            <pc:docMk/>
            <pc:sldMk cId="2527549710" sldId="407"/>
            <ac:grpSpMk id="12" creationId="{62C3EBE5-AEF5-0D31-B056-3337979E1407}"/>
          </ac:grpSpMkLst>
        </pc:grpChg>
        <pc:grpChg chg="mod">
          <ac:chgData name="Ashwin Sunder" userId="0dc3bf7fb9413de4" providerId="LiveId" clId="{4AF140CF-3027-4683-B79B-0FBF16533509}" dt="2024-09-04T09:05:31.638" v="3567"/>
          <ac:grpSpMkLst>
            <pc:docMk/>
            <pc:sldMk cId="2527549710" sldId="407"/>
            <ac:grpSpMk id="17" creationId="{6FB457CF-1925-03A7-FCA0-CF458692EFEE}"/>
          </ac:grpSpMkLst>
        </pc:grpChg>
        <pc:grpChg chg="mod">
          <ac:chgData name="Ashwin Sunder" userId="0dc3bf7fb9413de4" providerId="LiveId" clId="{4AF140CF-3027-4683-B79B-0FBF16533509}" dt="2024-09-04T09:05:31.638" v="3567"/>
          <ac:grpSpMkLst>
            <pc:docMk/>
            <pc:sldMk cId="2527549710" sldId="407"/>
            <ac:grpSpMk id="20" creationId="{A6AD6BED-CA07-B1B5-5764-E431935569D3}"/>
          </ac:grpSpMkLst>
        </pc:grpChg>
        <pc:picChg chg="mod">
          <ac:chgData name="Ashwin Sunder" userId="0dc3bf7fb9413de4" providerId="LiveId" clId="{4AF140CF-3027-4683-B79B-0FBF16533509}" dt="2024-09-04T09:05:31.638" v="3567"/>
          <ac:picMkLst>
            <pc:docMk/>
            <pc:sldMk cId="2527549710" sldId="407"/>
            <ac:picMk id="7" creationId="{533F3BFD-5E94-0AA9-989A-B876489FAD19}"/>
          </ac:picMkLst>
        </pc:picChg>
        <pc:picChg chg="mod">
          <ac:chgData name="Ashwin Sunder" userId="0dc3bf7fb9413de4" providerId="LiveId" clId="{4AF140CF-3027-4683-B79B-0FBF16533509}" dt="2024-09-04T09:05:31.638" v="3567"/>
          <ac:picMkLst>
            <pc:docMk/>
            <pc:sldMk cId="2527549710" sldId="407"/>
            <ac:picMk id="10" creationId="{457241FA-85A3-F6CF-4B04-B4152A17C1DC}"/>
          </ac:picMkLst>
        </pc:picChg>
        <pc:picChg chg="mod">
          <ac:chgData name="Ashwin Sunder" userId="0dc3bf7fb9413de4" providerId="LiveId" clId="{4AF140CF-3027-4683-B79B-0FBF16533509}" dt="2024-09-04T09:05:31.638" v="3567"/>
          <ac:picMkLst>
            <pc:docMk/>
            <pc:sldMk cId="2527549710" sldId="407"/>
            <ac:picMk id="13" creationId="{A5A5941C-B843-C436-33CE-7CD2291F4FA2}"/>
          </ac:picMkLst>
        </pc:picChg>
        <pc:picChg chg="mod">
          <ac:chgData name="Ashwin Sunder" userId="0dc3bf7fb9413de4" providerId="LiveId" clId="{4AF140CF-3027-4683-B79B-0FBF16533509}" dt="2024-09-04T09:05:31.638" v="3567"/>
          <ac:picMkLst>
            <pc:docMk/>
            <pc:sldMk cId="2527549710" sldId="407"/>
            <ac:picMk id="15" creationId="{61CE11A0-4616-15F6-E1BC-13EA6D07862D}"/>
          </ac:picMkLst>
        </pc:picChg>
        <pc:picChg chg="mod">
          <ac:chgData name="Ashwin Sunder" userId="0dc3bf7fb9413de4" providerId="LiveId" clId="{4AF140CF-3027-4683-B79B-0FBF16533509}" dt="2024-09-04T09:05:31.638" v="3567"/>
          <ac:picMkLst>
            <pc:docMk/>
            <pc:sldMk cId="2527549710" sldId="407"/>
            <ac:picMk id="18" creationId="{657E3C46-32AB-A813-F95A-060ED26E2019}"/>
          </ac:picMkLst>
        </pc:picChg>
        <pc:picChg chg="mod">
          <ac:chgData name="Ashwin Sunder" userId="0dc3bf7fb9413de4" providerId="LiveId" clId="{4AF140CF-3027-4683-B79B-0FBF16533509}" dt="2024-09-04T09:05:31.638" v="3567"/>
          <ac:picMkLst>
            <pc:docMk/>
            <pc:sldMk cId="2527549710" sldId="407"/>
            <ac:picMk id="21" creationId="{C47284B5-1AE7-7CCE-3DD4-F8ACDE683380}"/>
          </ac:picMkLst>
        </pc:picChg>
        <pc:cxnChg chg="mod">
          <ac:chgData name="Ashwin Sunder" userId="0dc3bf7fb9413de4" providerId="LiveId" clId="{4AF140CF-3027-4683-B79B-0FBF16533509}" dt="2024-09-04T09:05:31.638" v="3567"/>
          <ac:cxnSpMkLst>
            <pc:docMk/>
            <pc:sldMk cId="2527549710" sldId="407"/>
            <ac:cxnSpMk id="24" creationId="{4A8D4B66-FD3E-7C3D-20D0-F30438A56D9F}"/>
          </ac:cxnSpMkLst>
        </pc:cxnChg>
        <pc:cxnChg chg="mod">
          <ac:chgData name="Ashwin Sunder" userId="0dc3bf7fb9413de4" providerId="LiveId" clId="{4AF140CF-3027-4683-B79B-0FBF16533509}" dt="2024-09-04T09:05:31.638" v="3567"/>
          <ac:cxnSpMkLst>
            <pc:docMk/>
            <pc:sldMk cId="2527549710" sldId="407"/>
            <ac:cxnSpMk id="27" creationId="{E0199A2A-9A9C-6E84-4B93-D67586D2E0E0}"/>
          </ac:cxnSpMkLst>
        </pc:cxnChg>
        <pc:cxnChg chg="mod">
          <ac:chgData name="Ashwin Sunder" userId="0dc3bf7fb9413de4" providerId="LiveId" clId="{4AF140CF-3027-4683-B79B-0FBF16533509}" dt="2024-09-04T09:05:31.638" v="3567"/>
          <ac:cxnSpMkLst>
            <pc:docMk/>
            <pc:sldMk cId="2527549710" sldId="407"/>
            <ac:cxnSpMk id="31" creationId="{F8E7E263-368D-5DE9-F5DC-081102D6C2F0}"/>
          </ac:cxnSpMkLst>
        </pc:cxnChg>
        <pc:cxnChg chg="mod">
          <ac:chgData name="Ashwin Sunder" userId="0dc3bf7fb9413de4" providerId="LiveId" clId="{4AF140CF-3027-4683-B79B-0FBF16533509}" dt="2024-09-04T09:05:31.638" v="3567"/>
          <ac:cxnSpMkLst>
            <pc:docMk/>
            <pc:sldMk cId="2527549710" sldId="407"/>
            <ac:cxnSpMk id="34" creationId="{711C8654-E8D7-0A7C-271B-6A58CB3E42E8}"/>
          </ac:cxnSpMkLst>
        </pc:cxnChg>
        <pc:cxnChg chg="mod">
          <ac:chgData name="Ashwin Sunder" userId="0dc3bf7fb9413de4" providerId="LiveId" clId="{4AF140CF-3027-4683-B79B-0FBF16533509}" dt="2024-09-04T09:05:31.638" v="3567"/>
          <ac:cxnSpMkLst>
            <pc:docMk/>
            <pc:sldMk cId="2527549710" sldId="407"/>
            <ac:cxnSpMk id="47" creationId="{F943E369-5DA3-5DB3-31CF-6E888D081EFB}"/>
          </ac:cxnSpMkLst>
        </pc:cxnChg>
        <pc:cxnChg chg="mod">
          <ac:chgData name="Ashwin Sunder" userId="0dc3bf7fb9413de4" providerId="LiveId" clId="{4AF140CF-3027-4683-B79B-0FBF16533509}" dt="2024-09-04T09:05:31.638" v="3567"/>
          <ac:cxnSpMkLst>
            <pc:docMk/>
            <pc:sldMk cId="2527549710" sldId="407"/>
            <ac:cxnSpMk id="50" creationId="{C66D3436-D46F-9539-247C-6C50E5986A55}"/>
          </ac:cxnSpMkLst>
        </pc:cxnChg>
      </pc:sldChg>
      <pc:sldChg chg="modSp del">
        <pc:chgData name="Ashwin Sunder" userId="0dc3bf7fb9413de4" providerId="LiveId" clId="{4AF140CF-3027-4683-B79B-0FBF16533509}" dt="2024-09-09T08:57:15.459" v="10813" actId="2696"/>
        <pc:sldMkLst>
          <pc:docMk/>
          <pc:sldMk cId="3078592936" sldId="408"/>
        </pc:sldMkLst>
        <pc:spChg chg="mod">
          <ac:chgData name="Ashwin Sunder" userId="0dc3bf7fb9413de4" providerId="LiveId" clId="{4AF140CF-3027-4683-B79B-0FBF16533509}" dt="2024-09-04T09:05:31.638" v="3567"/>
          <ac:spMkLst>
            <pc:docMk/>
            <pc:sldMk cId="3078592936" sldId="408"/>
            <ac:spMk id="16" creationId="{A7BF04EB-5FFA-F783-27FB-4C0E1E1B6490}"/>
          </ac:spMkLst>
        </pc:spChg>
        <pc:picChg chg="mod">
          <ac:chgData name="Ashwin Sunder" userId="0dc3bf7fb9413de4" providerId="LiveId" clId="{4AF140CF-3027-4683-B79B-0FBF16533509}" dt="2024-09-04T09:05:31.638" v="3567"/>
          <ac:picMkLst>
            <pc:docMk/>
            <pc:sldMk cId="3078592936" sldId="408"/>
            <ac:picMk id="15" creationId="{C1A44A66-4428-21AE-A8DE-BB04DAE044A6}"/>
          </ac:picMkLst>
        </pc:picChg>
      </pc:sldChg>
      <pc:sldChg chg="modSp del modAnim">
        <pc:chgData name="Ashwin Sunder" userId="0dc3bf7fb9413de4" providerId="LiveId" clId="{4AF140CF-3027-4683-B79B-0FBF16533509}" dt="2024-09-09T08:57:50.255" v="10820" actId="2696"/>
        <pc:sldMkLst>
          <pc:docMk/>
          <pc:sldMk cId="2777984395" sldId="411"/>
        </pc:sldMkLst>
        <pc:spChg chg="mod">
          <ac:chgData name="Ashwin Sunder" userId="0dc3bf7fb9413de4" providerId="LiveId" clId="{4AF140CF-3027-4683-B79B-0FBF16533509}" dt="2024-09-09T08:57:47.405" v="10819" actId="20577"/>
          <ac:spMkLst>
            <pc:docMk/>
            <pc:sldMk cId="2777984395" sldId="411"/>
            <ac:spMk id="4" creationId="{8CBE170D-6C00-9AEB-99D6-CD4A46626B9B}"/>
          </ac:spMkLst>
        </pc:spChg>
        <pc:spChg chg="mod">
          <ac:chgData name="Ashwin Sunder" userId="0dc3bf7fb9413de4" providerId="LiveId" clId="{4AF140CF-3027-4683-B79B-0FBF16533509}" dt="2024-09-04T09:05:31.638" v="3567"/>
          <ac:spMkLst>
            <pc:docMk/>
            <pc:sldMk cId="2777984395" sldId="411"/>
            <ac:spMk id="5" creationId="{8CBE26F1-FE75-167D-EC20-82F8F7FE00B7}"/>
          </ac:spMkLst>
        </pc:spChg>
        <pc:spChg chg="mod">
          <ac:chgData name="Ashwin Sunder" userId="0dc3bf7fb9413de4" providerId="LiveId" clId="{4AF140CF-3027-4683-B79B-0FBF16533509}" dt="2024-09-04T09:05:31.638" v="3567"/>
          <ac:spMkLst>
            <pc:docMk/>
            <pc:sldMk cId="2777984395" sldId="411"/>
            <ac:spMk id="6" creationId="{7D823D31-313E-8AFB-7256-E9DA25294C78}"/>
          </ac:spMkLst>
        </pc:spChg>
        <pc:spChg chg="mod">
          <ac:chgData name="Ashwin Sunder" userId="0dc3bf7fb9413de4" providerId="LiveId" clId="{4AF140CF-3027-4683-B79B-0FBF16533509}" dt="2024-09-04T09:05:31.638" v="3567"/>
          <ac:spMkLst>
            <pc:docMk/>
            <pc:sldMk cId="2777984395" sldId="411"/>
            <ac:spMk id="7" creationId="{A076CA2F-A5B6-346C-B1FB-2FA98DD2EB92}"/>
          </ac:spMkLst>
        </pc:spChg>
      </pc:sldChg>
      <pc:sldChg chg="delSp modSp mod">
        <pc:chgData name="Ashwin Sunder" userId="0dc3bf7fb9413de4" providerId="LiveId" clId="{4AF140CF-3027-4683-B79B-0FBF16533509}" dt="2024-09-09T14:58:14.170" v="14475" actId="478"/>
        <pc:sldMkLst>
          <pc:docMk/>
          <pc:sldMk cId="715069748" sldId="419"/>
        </pc:sldMkLst>
        <pc:spChg chg="mod">
          <ac:chgData name="Ashwin Sunder" userId="0dc3bf7fb9413de4" providerId="LiveId" clId="{4AF140CF-3027-4683-B79B-0FBF16533509}" dt="2024-09-04T09:05:31.638" v="3567"/>
          <ac:spMkLst>
            <pc:docMk/>
            <pc:sldMk cId="715069748" sldId="419"/>
            <ac:spMk id="4" creationId="{4431D5FD-534B-35E5-9931-93C0A960914B}"/>
          </ac:spMkLst>
        </pc:spChg>
        <pc:picChg chg="del mod">
          <ac:chgData name="Ashwin Sunder" userId="0dc3bf7fb9413de4" providerId="LiveId" clId="{4AF140CF-3027-4683-B79B-0FBF16533509}" dt="2024-09-09T14:58:14.170" v="14475" actId="478"/>
          <ac:picMkLst>
            <pc:docMk/>
            <pc:sldMk cId="715069748" sldId="419"/>
            <ac:picMk id="5" creationId="{D661DEDC-5F05-3688-1661-DE1497B662AE}"/>
          </ac:picMkLst>
        </pc:picChg>
      </pc:sldChg>
      <pc:sldChg chg="del">
        <pc:chgData name="Ashwin Sunder" userId="0dc3bf7fb9413de4" providerId="LiveId" clId="{4AF140CF-3027-4683-B79B-0FBF16533509}" dt="2024-09-09T08:57:21.368" v="10815" actId="2696"/>
        <pc:sldMkLst>
          <pc:docMk/>
          <pc:sldMk cId="632131788" sldId="423"/>
        </pc:sldMkLst>
      </pc:sldChg>
      <pc:sldChg chg="modSp del">
        <pc:chgData name="Ashwin Sunder" userId="0dc3bf7fb9413de4" providerId="LiveId" clId="{4AF140CF-3027-4683-B79B-0FBF16533509}" dt="2024-09-09T08:57:23.789" v="10816" actId="2696"/>
        <pc:sldMkLst>
          <pc:docMk/>
          <pc:sldMk cId="885584562" sldId="424"/>
        </pc:sldMkLst>
        <pc:spChg chg="mod">
          <ac:chgData name="Ashwin Sunder" userId="0dc3bf7fb9413de4" providerId="LiveId" clId="{4AF140CF-3027-4683-B79B-0FBF16533509}" dt="2024-09-04T09:05:31.638" v="3567"/>
          <ac:spMkLst>
            <pc:docMk/>
            <pc:sldMk cId="885584562" sldId="424"/>
            <ac:spMk id="5" creationId="{17AA6AF2-C056-CD27-6615-B0DC939896D6}"/>
          </ac:spMkLst>
        </pc:spChg>
      </pc:sldChg>
      <pc:sldChg chg="modSp del">
        <pc:chgData name="Ashwin Sunder" userId="0dc3bf7fb9413de4" providerId="LiveId" clId="{4AF140CF-3027-4683-B79B-0FBF16533509}" dt="2024-09-09T08:57:17.656" v="10814" actId="2696"/>
        <pc:sldMkLst>
          <pc:docMk/>
          <pc:sldMk cId="3704678665" sldId="425"/>
        </pc:sldMkLst>
        <pc:spChg chg="mod">
          <ac:chgData name="Ashwin Sunder" userId="0dc3bf7fb9413de4" providerId="LiveId" clId="{4AF140CF-3027-4683-B79B-0FBF16533509}" dt="2024-09-04T09:05:31.638" v="3567"/>
          <ac:spMkLst>
            <pc:docMk/>
            <pc:sldMk cId="3704678665" sldId="425"/>
            <ac:spMk id="2" creationId="{DF673CE7-0EED-50CD-86D7-DC072887D6B8}"/>
          </ac:spMkLst>
        </pc:spChg>
        <pc:spChg chg="mod">
          <ac:chgData name="Ashwin Sunder" userId="0dc3bf7fb9413de4" providerId="LiveId" clId="{4AF140CF-3027-4683-B79B-0FBF16533509}" dt="2024-09-04T09:05:31.638" v="3567"/>
          <ac:spMkLst>
            <pc:docMk/>
            <pc:sldMk cId="3704678665" sldId="425"/>
            <ac:spMk id="16" creationId="{A7BF04EB-5FFA-F783-27FB-4C0E1E1B6490}"/>
          </ac:spMkLst>
        </pc:spChg>
        <pc:picChg chg="mod">
          <ac:chgData name="Ashwin Sunder" userId="0dc3bf7fb9413de4" providerId="LiveId" clId="{4AF140CF-3027-4683-B79B-0FBF16533509}" dt="2024-09-04T09:05:31.638" v="3567"/>
          <ac:picMkLst>
            <pc:docMk/>
            <pc:sldMk cId="3704678665" sldId="425"/>
            <ac:picMk id="15" creationId="{C1A44A66-4428-21AE-A8DE-BB04DAE044A6}"/>
          </ac:picMkLst>
        </pc:picChg>
      </pc:sldChg>
      <pc:sldChg chg="modSp mod modAnim">
        <pc:chgData name="Ashwin Sunder" userId="0dc3bf7fb9413de4" providerId="LiveId" clId="{4AF140CF-3027-4683-B79B-0FBF16533509}" dt="2024-09-28T11:51:13.772" v="21223"/>
        <pc:sldMkLst>
          <pc:docMk/>
          <pc:sldMk cId="2733195805" sldId="426"/>
        </pc:sldMkLst>
        <pc:spChg chg="mod">
          <ac:chgData name="Ashwin Sunder" userId="0dc3bf7fb9413de4" providerId="LiveId" clId="{4AF140CF-3027-4683-B79B-0FBF16533509}" dt="2024-09-27T09:03:52.521" v="20093" actId="20577"/>
          <ac:spMkLst>
            <pc:docMk/>
            <pc:sldMk cId="2733195805" sldId="426"/>
            <ac:spMk id="2" creationId="{856E013A-6095-74C3-F3E8-7FF1211940BF}"/>
          </ac:spMkLst>
        </pc:spChg>
        <pc:spChg chg="mod">
          <ac:chgData name="Ashwin Sunder" userId="0dc3bf7fb9413de4" providerId="LiveId" clId="{4AF140CF-3027-4683-B79B-0FBF16533509}" dt="2024-09-27T10:25:01.743" v="20626" actId="20577"/>
          <ac:spMkLst>
            <pc:docMk/>
            <pc:sldMk cId="2733195805" sldId="426"/>
            <ac:spMk id="3" creationId="{888D1A24-C230-55E6-8ECB-1193715A3FBE}"/>
          </ac:spMkLst>
        </pc:spChg>
      </pc:sldChg>
      <pc:sldChg chg="modSp del modAnim">
        <pc:chgData name="Ashwin Sunder" userId="0dc3bf7fb9413de4" providerId="LiveId" clId="{4AF140CF-3027-4683-B79B-0FBF16533509}" dt="2024-09-26T11:24:07.934" v="19997" actId="2696"/>
        <pc:sldMkLst>
          <pc:docMk/>
          <pc:sldMk cId="1693609202" sldId="427"/>
        </pc:sldMkLst>
        <pc:spChg chg="mod">
          <ac:chgData name="Ashwin Sunder" userId="0dc3bf7fb9413de4" providerId="LiveId" clId="{4AF140CF-3027-4683-B79B-0FBF16533509}" dt="2024-09-04T09:05:31.638" v="3567"/>
          <ac:spMkLst>
            <pc:docMk/>
            <pc:sldMk cId="1693609202" sldId="427"/>
            <ac:spMk id="2" creationId="{856E013A-6095-74C3-F3E8-7FF1211940BF}"/>
          </ac:spMkLst>
        </pc:spChg>
        <pc:graphicFrameChg chg="mod">
          <ac:chgData name="Ashwin Sunder" userId="0dc3bf7fb9413de4" providerId="LiveId" clId="{4AF140CF-3027-4683-B79B-0FBF16533509}" dt="2024-09-26T11:24:02.461" v="19996" actId="20577"/>
          <ac:graphicFrameMkLst>
            <pc:docMk/>
            <pc:sldMk cId="1693609202" sldId="427"/>
            <ac:graphicFrameMk id="4" creationId="{06DB56ED-FB30-81B8-589F-C541A565311E}"/>
          </ac:graphicFrameMkLst>
        </pc:graphicFrameChg>
      </pc:sldChg>
      <pc:sldChg chg="addSp delSp modSp add mod delAnim modAnim">
        <pc:chgData name="Ashwin Sunder" userId="0dc3bf7fb9413de4" providerId="LiveId" clId="{4AF140CF-3027-4683-B79B-0FBF16533509}" dt="2024-09-29T09:18:06.904" v="22186"/>
        <pc:sldMkLst>
          <pc:docMk/>
          <pc:sldMk cId="2033561316" sldId="427"/>
        </pc:sldMkLst>
        <pc:spChg chg="del mod topLvl">
          <ac:chgData name="Ashwin Sunder" userId="0dc3bf7fb9413de4" providerId="LiveId" clId="{4AF140CF-3027-4683-B79B-0FBF16533509}" dt="2024-09-29T09:15:58.032" v="22165" actId="478"/>
          <ac:spMkLst>
            <pc:docMk/>
            <pc:sldMk cId="2033561316" sldId="427"/>
            <ac:spMk id="5" creationId="{9E5E0D09-424D-931E-D2C1-45EF519EAC97}"/>
          </ac:spMkLst>
        </pc:spChg>
        <pc:spChg chg="mod topLvl">
          <ac:chgData name="Ashwin Sunder" userId="0dc3bf7fb9413de4" providerId="LiveId" clId="{4AF140CF-3027-4683-B79B-0FBF16533509}" dt="2024-09-29T09:16:08.471" v="22168" actId="1076"/>
          <ac:spMkLst>
            <pc:docMk/>
            <pc:sldMk cId="2033561316" sldId="427"/>
            <ac:spMk id="6" creationId="{2C8F95A0-B45A-CCE0-8D7A-8438E267DF62}"/>
          </ac:spMkLst>
        </pc:spChg>
        <pc:spChg chg="del mod topLvl">
          <ac:chgData name="Ashwin Sunder" userId="0dc3bf7fb9413de4" providerId="LiveId" clId="{4AF140CF-3027-4683-B79B-0FBF16533509}" dt="2024-09-29T09:15:35.526" v="22161" actId="478"/>
          <ac:spMkLst>
            <pc:docMk/>
            <pc:sldMk cId="2033561316" sldId="427"/>
            <ac:spMk id="7" creationId="{C4C00CA9-B127-1C55-B328-CEE0FC428DAC}"/>
          </ac:spMkLst>
        </pc:spChg>
        <pc:spChg chg="mod topLvl">
          <ac:chgData name="Ashwin Sunder" userId="0dc3bf7fb9413de4" providerId="LiveId" clId="{4AF140CF-3027-4683-B79B-0FBF16533509}" dt="2024-09-29T09:02:30.262" v="21907" actId="165"/>
          <ac:spMkLst>
            <pc:docMk/>
            <pc:sldMk cId="2033561316" sldId="427"/>
            <ac:spMk id="8" creationId="{B5E99077-4AD9-D6B5-FB5D-A9B8110E34D5}"/>
          </ac:spMkLst>
        </pc:spChg>
        <pc:spChg chg="del mod topLvl">
          <ac:chgData name="Ashwin Sunder" userId="0dc3bf7fb9413de4" providerId="LiveId" clId="{4AF140CF-3027-4683-B79B-0FBF16533509}" dt="2024-09-29T09:16:14.952" v="22170" actId="478"/>
          <ac:spMkLst>
            <pc:docMk/>
            <pc:sldMk cId="2033561316" sldId="427"/>
            <ac:spMk id="9" creationId="{414C92F3-9851-BE32-8F44-E5AB729418D5}"/>
          </ac:spMkLst>
        </pc:spChg>
        <pc:spChg chg="mod topLvl">
          <ac:chgData name="Ashwin Sunder" userId="0dc3bf7fb9413de4" providerId="LiveId" clId="{4AF140CF-3027-4683-B79B-0FBF16533509}" dt="2024-09-29T09:02:30.262" v="21907" actId="165"/>
          <ac:spMkLst>
            <pc:docMk/>
            <pc:sldMk cId="2033561316" sldId="427"/>
            <ac:spMk id="10" creationId="{15EE9AF8-F1ED-6B5B-C88B-5DCE74754FA3}"/>
          </ac:spMkLst>
        </pc:spChg>
        <pc:spChg chg="del mod topLvl">
          <ac:chgData name="Ashwin Sunder" userId="0dc3bf7fb9413de4" providerId="LiveId" clId="{4AF140CF-3027-4683-B79B-0FBF16533509}" dt="2024-09-29T09:16:30.933" v="22173" actId="478"/>
          <ac:spMkLst>
            <pc:docMk/>
            <pc:sldMk cId="2033561316" sldId="427"/>
            <ac:spMk id="11" creationId="{B72BB1EE-CD51-87C3-D90E-2419F8DFADCD}"/>
          </ac:spMkLst>
        </pc:spChg>
        <pc:spChg chg="mod topLvl">
          <ac:chgData name="Ashwin Sunder" userId="0dc3bf7fb9413de4" providerId="LiveId" clId="{4AF140CF-3027-4683-B79B-0FBF16533509}" dt="2024-09-29T09:02:30.262" v="21907" actId="165"/>
          <ac:spMkLst>
            <pc:docMk/>
            <pc:sldMk cId="2033561316" sldId="427"/>
            <ac:spMk id="12" creationId="{1980871F-C7D2-BB72-3678-A64F84F08D7C}"/>
          </ac:spMkLst>
        </pc:spChg>
        <pc:spChg chg="del mod topLvl">
          <ac:chgData name="Ashwin Sunder" userId="0dc3bf7fb9413de4" providerId="LiveId" clId="{4AF140CF-3027-4683-B79B-0FBF16533509}" dt="2024-09-29T09:16:41.962" v="22176" actId="478"/>
          <ac:spMkLst>
            <pc:docMk/>
            <pc:sldMk cId="2033561316" sldId="427"/>
            <ac:spMk id="13" creationId="{15A0E745-B6E0-A4EA-3383-1C104DDD53EF}"/>
          </ac:spMkLst>
        </pc:spChg>
        <pc:spChg chg="mod topLvl">
          <ac:chgData name="Ashwin Sunder" userId="0dc3bf7fb9413de4" providerId="LiveId" clId="{4AF140CF-3027-4683-B79B-0FBF16533509}" dt="2024-09-29T09:02:30.262" v="21907" actId="165"/>
          <ac:spMkLst>
            <pc:docMk/>
            <pc:sldMk cId="2033561316" sldId="427"/>
            <ac:spMk id="14" creationId="{2BF8E314-DCDF-623C-E276-3F0D56F91629}"/>
          </ac:spMkLst>
        </pc:spChg>
        <pc:spChg chg="mod topLvl">
          <ac:chgData name="Ashwin Sunder" userId="0dc3bf7fb9413de4" providerId="LiveId" clId="{4AF140CF-3027-4683-B79B-0FBF16533509}" dt="2024-09-29T09:17:04.374" v="22179" actId="1076"/>
          <ac:spMkLst>
            <pc:docMk/>
            <pc:sldMk cId="2033561316" sldId="427"/>
            <ac:spMk id="15" creationId="{85FECE56-CE5F-121B-D2A0-6FD22DCD088B}"/>
          </ac:spMkLst>
        </pc:spChg>
        <pc:spChg chg="add mod">
          <ac:chgData name="Ashwin Sunder" userId="0dc3bf7fb9413de4" providerId="LiveId" clId="{4AF140CF-3027-4683-B79B-0FBF16533509}" dt="2024-09-29T09:16:05.508" v="22166" actId="1076"/>
          <ac:spMkLst>
            <pc:docMk/>
            <pc:sldMk cId="2033561316" sldId="427"/>
            <ac:spMk id="17" creationId="{7784454D-B320-287D-965F-79D07C1C1553}"/>
          </ac:spMkLst>
        </pc:spChg>
        <pc:spChg chg="add mod">
          <ac:chgData name="Ashwin Sunder" userId="0dc3bf7fb9413de4" providerId="LiveId" clId="{4AF140CF-3027-4683-B79B-0FBF16533509}" dt="2024-09-29T09:15:51.792" v="22163" actId="1076"/>
          <ac:spMkLst>
            <pc:docMk/>
            <pc:sldMk cId="2033561316" sldId="427"/>
            <ac:spMk id="18" creationId="{DCFAE35F-1F00-4F97-995A-71D625A41590}"/>
          </ac:spMkLst>
        </pc:spChg>
        <pc:spChg chg="add mod">
          <ac:chgData name="Ashwin Sunder" userId="0dc3bf7fb9413de4" providerId="LiveId" clId="{4AF140CF-3027-4683-B79B-0FBF16533509}" dt="2024-09-29T09:16:24.761" v="22171" actId="1076"/>
          <ac:spMkLst>
            <pc:docMk/>
            <pc:sldMk cId="2033561316" sldId="427"/>
            <ac:spMk id="19" creationId="{25B3E887-CB24-FDDF-D69F-32AB53E51ABA}"/>
          </ac:spMkLst>
        </pc:spChg>
        <pc:spChg chg="add mod">
          <ac:chgData name="Ashwin Sunder" userId="0dc3bf7fb9413de4" providerId="LiveId" clId="{4AF140CF-3027-4683-B79B-0FBF16533509}" dt="2024-09-29T09:16:38.161" v="22174" actId="1076"/>
          <ac:spMkLst>
            <pc:docMk/>
            <pc:sldMk cId="2033561316" sldId="427"/>
            <ac:spMk id="20" creationId="{F7EABDBF-9D55-446D-9A83-FF29F670C6BA}"/>
          </ac:spMkLst>
        </pc:spChg>
        <pc:spChg chg="add mod">
          <ac:chgData name="Ashwin Sunder" userId="0dc3bf7fb9413de4" providerId="LiveId" clId="{4AF140CF-3027-4683-B79B-0FBF16533509}" dt="2024-09-29T09:16:56.817" v="22177" actId="1076"/>
          <ac:spMkLst>
            <pc:docMk/>
            <pc:sldMk cId="2033561316" sldId="427"/>
            <ac:spMk id="21" creationId="{26323058-0416-A13E-4C35-7834C42E0061}"/>
          </ac:spMkLst>
        </pc:spChg>
        <pc:spChg chg="add mod">
          <ac:chgData name="Ashwin Sunder" userId="0dc3bf7fb9413de4" providerId="LiveId" clId="{4AF140CF-3027-4683-B79B-0FBF16533509}" dt="2024-09-29T09:14:43.421" v="22147" actId="571"/>
          <ac:spMkLst>
            <pc:docMk/>
            <pc:sldMk cId="2033561316" sldId="427"/>
            <ac:spMk id="22" creationId="{8B94F7C2-E9BB-1E92-86B6-A46EEC7AB644}"/>
          </ac:spMkLst>
        </pc:spChg>
        <pc:spChg chg="add mod">
          <ac:chgData name="Ashwin Sunder" userId="0dc3bf7fb9413de4" providerId="LiveId" clId="{4AF140CF-3027-4683-B79B-0FBF16533509}" dt="2024-09-29T09:14:43.421" v="22147" actId="571"/>
          <ac:spMkLst>
            <pc:docMk/>
            <pc:sldMk cId="2033561316" sldId="427"/>
            <ac:spMk id="23" creationId="{C2A8F417-7AC5-5261-3EBA-2F02657A5060}"/>
          </ac:spMkLst>
        </pc:spChg>
        <pc:spChg chg="add mod">
          <ac:chgData name="Ashwin Sunder" userId="0dc3bf7fb9413de4" providerId="LiveId" clId="{4AF140CF-3027-4683-B79B-0FBF16533509}" dt="2024-09-29T09:14:27.770" v="22144" actId="571"/>
          <ac:spMkLst>
            <pc:docMk/>
            <pc:sldMk cId="2033561316" sldId="427"/>
            <ac:spMk id="24" creationId="{489F5773-57A9-6F85-AE76-F4E052CC29FF}"/>
          </ac:spMkLst>
        </pc:spChg>
        <pc:spChg chg="add mod">
          <ac:chgData name="Ashwin Sunder" userId="0dc3bf7fb9413de4" providerId="LiveId" clId="{4AF140CF-3027-4683-B79B-0FBF16533509}" dt="2024-09-29T09:14:27.770" v="22144" actId="571"/>
          <ac:spMkLst>
            <pc:docMk/>
            <pc:sldMk cId="2033561316" sldId="427"/>
            <ac:spMk id="25" creationId="{70208FB9-8E1A-8A2E-C66A-5A3606299A02}"/>
          </ac:spMkLst>
        </pc:spChg>
        <pc:spChg chg="add mod">
          <ac:chgData name="Ashwin Sunder" userId="0dc3bf7fb9413de4" providerId="LiveId" clId="{4AF140CF-3027-4683-B79B-0FBF16533509}" dt="2024-09-29T09:14:27.770" v="22144" actId="571"/>
          <ac:spMkLst>
            <pc:docMk/>
            <pc:sldMk cId="2033561316" sldId="427"/>
            <ac:spMk id="26" creationId="{B0D0EC1E-636B-B22F-D92C-D83B15DD169F}"/>
          </ac:spMkLst>
        </pc:spChg>
        <pc:spChg chg="add mod">
          <ac:chgData name="Ashwin Sunder" userId="0dc3bf7fb9413de4" providerId="LiveId" clId="{4AF140CF-3027-4683-B79B-0FBF16533509}" dt="2024-09-29T09:14:27.770" v="22144" actId="571"/>
          <ac:spMkLst>
            <pc:docMk/>
            <pc:sldMk cId="2033561316" sldId="427"/>
            <ac:spMk id="27" creationId="{F7C50BB0-9FF5-144B-2871-6AD66314EA5D}"/>
          </ac:spMkLst>
        </pc:spChg>
        <pc:spChg chg="add mod">
          <ac:chgData name="Ashwin Sunder" userId="0dc3bf7fb9413de4" providerId="LiveId" clId="{4AF140CF-3027-4683-B79B-0FBF16533509}" dt="2024-09-29T09:14:27.770" v="22144" actId="571"/>
          <ac:spMkLst>
            <pc:docMk/>
            <pc:sldMk cId="2033561316" sldId="427"/>
            <ac:spMk id="28" creationId="{5F141F76-AE4A-1D86-0756-E3985609528D}"/>
          </ac:spMkLst>
        </pc:spChg>
        <pc:grpChg chg="del mod">
          <ac:chgData name="Ashwin Sunder" userId="0dc3bf7fb9413de4" providerId="LiveId" clId="{4AF140CF-3027-4683-B79B-0FBF16533509}" dt="2024-09-29T09:02:30.262" v="21907" actId="165"/>
          <ac:grpSpMkLst>
            <pc:docMk/>
            <pc:sldMk cId="2033561316" sldId="427"/>
            <ac:grpSpMk id="3" creationId="{43875BD9-2851-E41E-D501-99E26F563147}"/>
          </ac:grpSpMkLst>
        </pc:grpChg>
        <pc:graphicFrameChg chg="del mod">
          <ac:chgData name="Ashwin Sunder" userId="0dc3bf7fb9413de4" providerId="LiveId" clId="{4AF140CF-3027-4683-B79B-0FBF16533509}" dt="2024-09-29T09:02:26.607" v="21906" actId="18245"/>
          <ac:graphicFrameMkLst>
            <pc:docMk/>
            <pc:sldMk cId="2033561316" sldId="427"/>
            <ac:graphicFrameMk id="4" creationId="{06DB56ED-FB30-81B8-589F-C541A565311E}"/>
          </ac:graphicFrameMkLst>
        </pc:graphicFrameChg>
        <pc:graphicFrameChg chg="add del mod modGraphic">
          <ac:chgData name="Ashwin Sunder" userId="0dc3bf7fb9413de4" providerId="LiveId" clId="{4AF140CF-3027-4683-B79B-0FBF16533509}" dt="2024-09-29T09:12:27.211" v="22119" actId="21"/>
          <ac:graphicFrameMkLst>
            <pc:docMk/>
            <pc:sldMk cId="2033561316" sldId="427"/>
            <ac:graphicFrameMk id="16" creationId="{BA5A659C-1726-8744-0906-F1B2AA18FCF9}"/>
          </ac:graphicFrameMkLst>
        </pc:graphicFrameChg>
      </pc:sldChg>
      <pc:sldChg chg="addSp modSp mod modAnim">
        <pc:chgData name="Ashwin Sunder" userId="0dc3bf7fb9413de4" providerId="LiveId" clId="{4AF140CF-3027-4683-B79B-0FBF16533509}" dt="2024-09-29T13:10:33.963" v="22274" actId="255"/>
        <pc:sldMkLst>
          <pc:docMk/>
          <pc:sldMk cId="2232381804" sldId="428"/>
        </pc:sldMkLst>
        <pc:spChg chg="mod">
          <ac:chgData name="Ashwin Sunder" userId="0dc3bf7fb9413de4" providerId="LiveId" clId="{4AF140CF-3027-4683-B79B-0FBF16533509}" dt="2024-09-20T09:54:32.924" v="15905" actId="1076"/>
          <ac:spMkLst>
            <pc:docMk/>
            <pc:sldMk cId="2232381804" sldId="428"/>
            <ac:spMk id="2" creationId="{8D590EF6-D7D6-313A-3E2F-7FAC7B2A4371}"/>
          </ac:spMkLst>
        </pc:spChg>
        <pc:spChg chg="mod">
          <ac:chgData name="Ashwin Sunder" userId="0dc3bf7fb9413de4" providerId="LiveId" clId="{4AF140CF-3027-4683-B79B-0FBF16533509}" dt="2024-09-29T13:10:33.963" v="22274" actId="255"/>
          <ac:spMkLst>
            <pc:docMk/>
            <pc:sldMk cId="2232381804" sldId="428"/>
            <ac:spMk id="3" creationId="{EE27EF17-FB24-AE79-2739-B8DFEC883199}"/>
          </ac:spMkLst>
        </pc:spChg>
        <pc:spChg chg="add mod">
          <ac:chgData name="Ashwin Sunder" userId="0dc3bf7fb9413de4" providerId="LiveId" clId="{4AF140CF-3027-4683-B79B-0FBF16533509}" dt="2024-09-09T15:23:07.954" v="14722" actId="571"/>
          <ac:spMkLst>
            <pc:docMk/>
            <pc:sldMk cId="2232381804" sldId="428"/>
            <ac:spMk id="4" creationId="{6197CDD9-7A9C-6CED-E116-E898D5CDC4DA}"/>
          </ac:spMkLst>
        </pc:spChg>
        <pc:spChg chg="add mod">
          <ac:chgData name="Ashwin Sunder" userId="0dc3bf7fb9413de4" providerId="LiveId" clId="{4AF140CF-3027-4683-B79B-0FBF16533509}" dt="2024-09-20T09:52:47.714" v="15898" actId="20577"/>
          <ac:spMkLst>
            <pc:docMk/>
            <pc:sldMk cId="2232381804" sldId="428"/>
            <ac:spMk id="4" creationId="{C78BFA66-2313-DF66-1897-3351E7610B5B}"/>
          </ac:spMkLst>
        </pc:spChg>
        <pc:graphicFrameChg chg="mod">
          <ac:chgData name="Ashwin Sunder" userId="0dc3bf7fb9413de4" providerId="LiveId" clId="{4AF140CF-3027-4683-B79B-0FBF16533509}" dt="2024-09-28T09:55:13.663" v="21192" actId="20577"/>
          <ac:graphicFrameMkLst>
            <pc:docMk/>
            <pc:sldMk cId="2232381804" sldId="428"/>
            <ac:graphicFrameMk id="5" creationId="{2B7185DE-9308-30C7-CB24-B6BD787DFC4E}"/>
          </ac:graphicFrameMkLst>
        </pc:graphicFrameChg>
        <pc:graphicFrameChg chg="add mod">
          <ac:chgData name="Ashwin Sunder" userId="0dc3bf7fb9413de4" providerId="LiveId" clId="{4AF140CF-3027-4683-B79B-0FBF16533509}" dt="2024-09-09T15:23:07.954" v="14722" actId="571"/>
          <ac:graphicFrameMkLst>
            <pc:docMk/>
            <pc:sldMk cId="2232381804" sldId="428"/>
            <ac:graphicFrameMk id="6" creationId="{41795124-4BEA-E6DD-059E-76D90EA0D3CB}"/>
          </ac:graphicFrameMkLst>
        </pc:graphicFrameChg>
      </pc:sldChg>
      <pc:sldChg chg="add">
        <pc:chgData name="Ashwin Sunder" userId="0dc3bf7fb9413de4" providerId="LiveId" clId="{4AF140CF-3027-4683-B79B-0FBF16533509}" dt="2024-09-26T11:32:37.609" v="20017"/>
        <pc:sldMkLst>
          <pc:docMk/>
          <pc:sldMk cId="63244128" sldId="429"/>
        </pc:sldMkLst>
      </pc:sldChg>
      <pc:sldChg chg="addSp modSp del mod modAnim">
        <pc:chgData name="Ashwin Sunder" userId="0dc3bf7fb9413de4" providerId="LiveId" clId="{4AF140CF-3027-4683-B79B-0FBF16533509}" dt="2024-09-26T11:32:32.958" v="20016" actId="2696"/>
        <pc:sldMkLst>
          <pc:docMk/>
          <pc:sldMk cId="925708876" sldId="429"/>
        </pc:sldMkLst>
        <pc:spChg chg="mod">
          <ac:chgData name="Ashwin Sunder" userId="0dc3bf7fb9413de4" providerId="LiveId" clId="{4AF140CF-3027-4683-B79B-0FBF16533509}" dt="2024-09-20T09:54:56.893" v="15928" actId="20577"/>
          <ac:spMkLst>
            <pc:docMk/>
            <pc:sldMk cId="925708876" sldId="429"/>
            <ac:spMk id="2" creationId="{901193C0-9C08-F9B1-2BAF-69D1FB836CC3}"/>
          </ac:spMkLst>
        </pc:spChg>
        <pc:spChg chg="add mod">
          <ac:chgData name="Ashwin Sunder" userId="0dc3bf7fb9413de4" providerId="LiveId" clId="{4AF140CF-3027-4683-B79B-0FBF16533509}" dt="2024-09-20T09:55:04.400" v="15951" actId="20577"/>
          <ac:spMkLst>
            <pc:docMk/>
            <pc:sldMk cId="925708876" sldId="429"/>
            <ac:spMk id="3" creationId="{26C59B9C-C4A9-ACA9-C1C2-ADF61F178801}"/>
          </ac:spMkLst>
        </pc:spChg>
        <pc:spChg chg="mod">
          <ac:chgData name="Ashwin Sunder" userId="0dc3bf7fb9413de4" providerId="LiveId" clId="{4AF140CF-3027-4683-B79B-0FBF16533509}" dt="2024-09-06T13:01:11.589" v="10658" actId="20577"/>
          <ac:spMkLst>
            <pc:docMk/>
            <pc:sldMk cId="925708876" sldId="429"/>
            <ac:spMk id="5" creationId="{9435A9F4-0EF6-B50A-125D-F244281B67F3}"/>
          </ac:spMkLst>
        </pc:spChg>
        <pc:spChg chg="mod">
          <ac:chgData name="Ashwin Sunder" userId="0dc3bf7fb9413de4" providerId="LiveId" clId="{4AF140CF-3027-4683-B79B-0FBF16533509}" dt="2024-09-09T15:24:36.956" v="14727" actId="20577"/>
          <ac:spMkLst>
            <pc:docMk/>
            <pc:sldMk cId="925708876" sldId="429"/>
            <ac:spMk id="9" creationId="{25D3D0A1-E026-2CEB-9243-3E374E3AA68A}"/>
          </ac:spMkLst>
        </pc:spChg>
        <pc:picChg chg="mod">
          <ac:chgData name="Ashwin Sunder" userId="0dc3bf7fb9413de4" providerId="LiveId" clId="{4AF140CF-3027-4683-B79B-0FBF16533509}" dt="2024-09-20T09:55:13.684" v="15953" actId="1076"/>
          <ac:picMkLst>
            <pc:docMk/>
            <pc:sldMk cId="925708876" sldId="429"/>
            <ac:picMk id="8" creationId="{25A437F0-E954-5172-B2BF-1503C4F54677}"/>
          </ac:picMkLst>
        </pc:picChg>
        <pc:picChg chg="mod">
          <ac:chgData name="Ashwin Sunder" userId="0dc3bf7fb9413de4" providerId="LiveId" clId="{4AF140CF-3027-4683-B79B-0FBF16533509}" dt="2024-09-20T09:55:16.255" v="15954" actId="14100"/>
          <ac:picMkLst>
            <pc:docMk/>
            <pc:sldMk cId="925708876" sldId="429"/>
            <ac:picMk id="10" creationId="{05FDE5AB-80C7-97D7-4250-9ED4E0DB3FC4}"/>
          </ac:picMkLst>
        </pc:picChg>
        <pc:cxnChg chg="mod">
          <ac:chgData name="Ashwin Sunder" userId="0dc3bf7fb9413de4" providerId="LiveId" clId="{4AF140CF-3027-4683-B79B-0FBF16533509}" dt="2024-09-04T09:05:31.638" v="3567"/>
          <ac:cxnSpMkLst>
            <pc:docMk/>
            <pc:sldMk cId="925708876" sldId="429"/>
            <ac:cxnSpMk id="12" creationId="{C8FE536C-D712-0EC0-85B8-C528AB1EA7B3}"/>
          </ac:cxnSpMkLst>
        </pc:cxnChg>
      </pc:sldChg>
      <pc:sldChg chg="addSp delSp modSp del mod">
        <pc:chgData name="Ashwin Sunder" userId="0dc3bf7fb9413de4" providerId="LiveId" clId="{4AF140CF-3027-4683-B79B-0FBF16533509}" dt="2024-09-03T11:18:57.359" v="1617" actId="2696"/>
        <pc:sldMkLst>
          <pc:docMk/>
          <pc:sldMk cId="4141874914" sldId="430"/>
        </pc:sldMkLst>
        <pc:spChg chg="mod">
          <ac:chgData name="Ashwin Sunder" userId="0dc3bf7fb9413de4" providerId="LiveId" clId="{4AF140CF-3027-4683-B79B-0FBF16533509}" dt="2024-09-03T10:24:19.913" v="936" actId="14100"/>
          <ac:spMkLst>
            <pc:docMk/>
            <pc:sldMk cId="4141874914" sldId="430"/>
            <ac:spMk id="3" creationId="{C4AFC1B6-6389-2325-97D9-5434FA053CAC}"/>
          </ac:spMkLst>
        </pc:spChg>
        <pc:spChg chg="mod">
          <ac:chgData name="Ashwin Sunder" userId="0dc3bf7fb9413de4" providerId="LiveId" clId="{4AF140CF-3027-4683-B79B-0FBF16533509}" dt="2024-09-03T10:16:35.751" v="903"/>
          <ac:spMkLst>
            <pc:docMk/>
            <pc:sldMk cId="4141874914" sldId="430"/>
            <ac:spMk id="21" creationId="{2C0314FE-E898-9D2B-F266-E4B53E0D2244}"/>
          </ac:spMkLst>
        </pc:spChg>
        <pc:spChg chg="mod">
          <ac:chgData name="Ashwin Sunder" userId="0dc3bf7fb9413de4" providerId="LiveId" clId="{4AF140CF-3027-4683-B79B-0FBF16533509}" dt="2024-09-03T10:16:35.751" v="903"/>
          <ac:spMkLst>
            <pc:docMk/>
            <pc:sldMk cId="4141874914" sldId="430"/>
            <ac:spMk id="22" creationId="{916649B8-CFFC-C823-D148-76CBD58FE1DB}"/>
          </ac:spMkLst>
        </pc:spChg>
        <pc:spChg chg="mod">
          <ac:chgData name="Ashwin Sunder" userId="0dc3bf7fb9413de4" providerId="LiveId" clId="{4AF140CF-3027-4683-B79B-0FBF16533509}" dt="2024-09-03T10:16:35.751" v="903"/>
          <ac:spMkLst>
            <pc:docMk/>
            <pc:sldMk cId="4141874914" sldId="430"/>
            <ac:spMk id="23" creationId="{421F9F25-8B97-A7A5-C50B-93462CB35C87}"/>
          </ac:spMkLst>
        </pc:spChg>
        <pc:spChg chg="mod">
          <ac:chgData name="Ashwin Sunder" userId="0dc3bf7fb9413de4" providerId="LiveId" clId="{4AF140CF-3027-4683-B79B-0FBF16533509}" dt="2024-09-03T10:16:35.751" v="903"/>
          <ac:spMkLst>
            <pc:docMk/>
            <pc:sldMk cId="4141874914" sldId="430"/>
            <ac:spMk id="24" creationId="{8DB0B66D-B05D-BEE7-932B-95C19AB475C3}"/>
          </ac:spMkLst>
        </pc:spChg>
        <pc:spChg chg="mod">
          <ac:chgData name="Ashwin Sunder" userId="0dc3bf7fb9413de4" providerId="LiveId" clId="{4AF140CF-3027-4683-B79B-0FBF16533509}" dt="2024-09-03T10:16:35.751" v="903"/>
          <ac:spMkLst>
            <pc:docMk/>
            <pc:sldMk cId="4141874914" sldId="430"/>
            <ac:spMk id="25" creationId="{FE386582-FDA0-F158-F45D-00AC8FBAB86E}"/>
          </ac:spMkLst>
        </pc:spChg>
        <pc:spChg chg="mod">
          <ac:chgData name="Ashwin Sunder" userId="0dc3bf7fb9413de4" providerId="LiveId" clId="{4AF140CF-3027-4683-B79B-0FBF16533509}" dt="2024-09-03T10:16:35.751" v="903"/>
          <ac:spMkLst>
            <pc:docMk/>
            <pc:sldMk cId="4141874914" sldId="430"/>
            <ac:spMk id="26" creationId="{BB16E93F-5071-7F55-3D26-EE5C9EC0A710}"/>
          </ac:spMkLst>
        </pc:spChg>
        <pc:spChg chg="mod">
          <ac:chgData name="Ashwin Sunder" userId="0dc3bf7fb9413de4" providerId="LiveId" clId="{4AF140CF-3027-4683-B79B-0FBF16533509}" dt="2024-09-03T10:16:35.751" v="903"/>
          <ac:spMkLst>
            <pc:docMk/>
            <pc:sldMk cId="4141874914" sldId="430"/>
            <ac:spMk id="27" creationId="{64C09B66-E47F-A409-C62F-0A3B9B6CAE0F}"/>
          </ac:spMkLst>
        </pc:spChg>
        <pc:spChg chg="mod">
          <ac:chgData name="Ashwin Sunder" userId="0dc3bf7fb9413de4" providerId="LiveId" clId="{4AF140CF-3027-4683-B79B-0FBF16533509}" dt="2024-09-03T10:16:35.751" v="903"/>
          <ac:spMkLst>
            <pc:docMk/>
            <pc:sldMk cId="4141874914" sldId="430"/>
            <ac:spMk id="28" creationId="{6B3B09D3-177D-1119-75D1-8A3AEB41A62B}"/>
          </ac:spMkLst>
        </pc:spChg>
        <pc:spChg chg="mod">
          <ac:chgData name="Ashwin Sunder" userId="0dc3bf7fb9413de4" providerId="LiveId" clId="{4AF140CF-3027-4683-B79B-0FBF16533509}" dt="2024-09-03T10:16:35.751" v="903"/>
          <ac:spMkLst>
            <pc:docMk/>
            <pc:sldMk cId="4141874914" sldId="430"/>
            <ac:spMk id="29" creationId="{83E69C49-6CF1-C6FF-0690-FB226A526665}"/>
          </ac:spMkLst>
        </pc:spChg>
        <pc:spChg chg="mod">
          <ac:chgData name="Ashwin Sunder" userId="0dc3bf7fb9413de4" providerId="LiveId" clId="{4AF140CF-3027-4683-B79B-0FBF16533509}" dt="2024-09-03T10:21:51.900" v="922" actId="208"/>
          <ac:spMkLst>
            <pc:docMk/>
            <pc:sldMk cId="4141874914" sldId="430"/>
            <ac:spMk id="36" creationId="{A80FA28F-BAE4-B0C7-9369-F9BBE06DEBD5}"/>
          </ac:spMkLst>
        </pc:spChg>
        <pc:spChg chg="mod">
          <ac:chgData name="Ashwin Sunder" userId="0dc3bf7fb9413de4" providerId="LiveId" clId="{4AF140CF-3027-4683-B79B-0FBF16533509}" dt="2024-09-03T10:22:55.040" v="930" actId="1076"/>
          <ac:spMkLst>
            <pc:docMk/>
            <pc:sldMk cId="4141874914" sldId="430"/>
            <ac:spMk id="40" creationId="{2CE9E7FF-73EC-21F4-E634-91DD5F946AEB}"/>
          </ac:spMkLst>
        </pc:spChg>
        <pc:spChg chg="mod">
          <ac:chgData name="Ashwin Sunder" userId="0dc3bf7fb9413de4" providerId="LiveId" clId="{4AF140CF-3027-4683-B79B-0FBF16533509}" dt="2024-09-03T10:23:10.501" v="933" actId="1076"/>
          <ac:spMkLst>
            <pc:docMk/>
            <pc:sldMk cId="4141874914" sldId="430"/>
            <ac:spMk id="41" creationId="{3951F32D-8669-B377-77BE-C167F8BD19A4}"/>
          </ac:spMkLst>
        </pc:spChg>
        <pc:spChg chg="mod">
          <ac:chgData name="Ashwin Sunder" userId="0dc3bf7fb9413de4" providerId="LiveId" clId="{4AF140CF-3027-4683-B79B-0FBF16533509}" dt="2024-09-03T10:23:01.280" v="931" actId="1076"/>
          <ac:spMkLst>
            <pc:docMk/>
            <pc:sldMk cId="4141874914" sldId="430"/>
            <ac:spMk id="42" creationId="{92127137-F728-EA4E-4305-E544AFB98CA7}"/>
          </ac:spMkLst>
        </pc:spChg>
        <pc:grpChg chg="add mod">
          <ac:chgData name="Ashwin Sunder" userId="0dc3bf7fb9413de4" providerId="LiveId" clId="{4AF140CF-3027-4683-B79B-0FBF16533509}" dt="2024-09-03T10:23:49.156" v="934" actId="1076"/>
          <ac:grpSpMkLst>
            <pc:docMk/>
            <pc:sldMk cId="4141874914" sldId="430"/>
            <ac:grpSpMk id="13" creationId="{49505CE7-C4AB-1E48-88E5-7BF9A14DF517}"/>
          </ac:grpSpMkLst>
        </pc:grpChg>
        <pc:graphicFrameChg chg="add mod modGraphic">
          <ac:chgData name="Ashwin Sunder" userId="0dc3bf7fb9413de4" providerId="LiveId" clId="{4AF140CF-3027-4683-B79B-0FBF16533509}" dt="2024-09-03T10:24:26.819" v="937" actId="1076"/>
          <ac:graphicFrameMkLst>
            <pc:docMk/>
            <pc:sldMk cId="4141874914" sldId="430"/>
            <ac:graphicFrameMk id="4" creationId="{36112599-EC72-1793-940F-2026CDFA44C0}"/>
          </ac:graphicFrameMkLst>
        </pc:graphicFrameChg>
        <pc:graphicFrameChg chg="add del mod modGraphic">
          <ac:chgData name="Ashwin Sunder" userId="0dc3bf7fb9413de4" providerId="LiveId" clId="{4AF140CF-3027-4683-B79B-0FBF16533509}" dt="2024-09-03T09:38:46.554" v="756" actId="1032"/>
          <ac:graphicFrameMkLst>
            <pc:docMk/>
            <pc:sldMk cId="4141874914" sldId="430"/>
            <ac:graphicFrameMk id="7" creationId="{65118C1D-D49B-774A-A8AC-0FA67F7BE95B}"/>
          </ac:graphicFrameMkLst>
        </pc:graphicFrameChg>
        <pc:graphicFrameChg chg="add del">
          <ac:chgData name="Ashwin Sunder" userId="0dc3bf7fb9413de4" providerId="LiveId" clId="{4AF140CF-3027-4683-B79B-0FBF16533509}" dt="2024-09-03T09:38:53.181" v="758"/>
          <ac:graphicFrameMkLst>
            <pc:docMk/>
            <pc:sldMk cId="4141874914" sldId="430"/>
            <ac:graphicFrameMk id="8" creationId="{F2FF59DB-2141-005D-3E5C-A5B885D5E85D}"/>
          </ac:graphicFrameMkLst>
        </pc:graphicFrameChg>
        <pc:graphicFrameChg chg="add mod modGraphic">
          <ac:chgData name="Ashwin Sunder" userId="0dc3bf7fb9413de4" providerId="LiveId" clId="{4AF140CF-3027-4683-B79B-0FBF16533509}" dt="2024-09-03T09:42:37.146" v="870" actId="1076"/>
          <ac:graphicFrameMkLst>
            <pc:docMk/>
            <pc:sldMk cId="4141874914" sldId="430"/>
            <ac:graphicFrameMk id="9" creationId="{6B2A608B-2B71-9FF8-1E47-90541B65FE62}"/>
          </ac:graphicFrameMkLst>
        </pc:graphicFrameChg>
        <pc:picChg chg="add del mod">
          <ac:chgData name="Ashwin Sunder" userId="0dc3bf7fb9413de4" providerId="LiveId" clId="{4AF140CF-3027-4683-B79B-0FBF16533509}" dt="2024-09-03T09:52:45.823" v="871" actId="478"/>
          <ac:picMkLst>
            <pc:docMk/>
            <pc:sldMk cId="4141874914" sldId="430"/>
            <ac:picMk id="6" creationId="{DAB47CB5-0CAD-6907-2323-FBB6A0531C29}"/>
          </ac:picMkLst>
        </pc:picChg>
        <pc:picChg chg="add del mod">
          <ac:chgData name="Ashwin Sunder" userId="0dc3bf7fb9413de4" providerId="LiveId" clId="{4AF140CF-3027-4683-B79B-0FBF16533509}" dt="2024-09-03T10:15:22.398" v="901" actId="478"/>
          <ac:picMkLst>
            <pc:docMk/>
            <pc:sldMk cId="4141874914" sldId="430"/>
            <ac:picMk id="11" creationId="{9CCC98AF-AE33-2E26-4416-43C2603CFA60}"/>
          </ac:picMkLst>
        </pc:picChg>
        <pc:picChg chg="add mod">
          <ac:chgData name="Ashwin Sunder" userId="0dc3bf7fb9413de4" providerId="LiveId" clId="{4AF140CF-3027-4683-B79B-0FBF16533509}" dt="2024-09-03T10:15:23.238" v="902"/>
          <ac:picMkLst>
            <pc:docMk/>
            <pc:sldMk cId="4141874914" sldId="430"/>
            <ac:picMk id="12" creationId="{6FD164D8-F50F-E784-00C2-49396EA6E3CF}"/>
          </ac:picMkLst>
        </pc:picChg>
        <pc:picChg chg="mod">
          <ac:chgData name="Ashwin Sunder" userId="0dc3bf7fb9413de4" providerId="LiveId" clId="{4AF140CF-3027-4683-B79B-0FBF16533509}" dt="2024-09-03T10:22:38.952" v="927" actId="1076"/>
          <ac:picMkLst>
            <pc:docMk/>
            <pc:sldMk cId="4141874914" sldId="430"/>
            <ac:picMk id="14" creationId="{59FC4B86-7769-190C-67C8-C73F6698ECEC}"/>
          </ac:picMkLst>
        </pc:picChg>
        <pc:cxnChg chg="mod">
          <ac:chgData name="Ashwin Sunder" userId="0dc3bf7fb9413de4" providerId="LiveId" clId="{4AF140CF-3027-4683-B79B-0FBF16533509}" dt="2024-09-03T10:16:35.751" v="903"/>
          <ac:cxnSpMkLst>
            <pc:docMk/>
            <pc:sldMk cId="4141874914" sldId="430"/>
            <ac:cxnSpMk id="15" creationId="{03DCF5D5-B4B3-64B9-CC12-6AD157A8EF64}"/>
          </ac:cxnSpMkLst>
        </pc:cxnChg>
        <pc:cxnChg chg="mod">
          <ac:chgData name="Ashwin Sunder" userId="0dc3bf7fb9413de4" providerId="LiveId" clId="{4AF140CF-3027-4683-B79B-0FBF16533509}" dt="2024-09-03T10:16:35.751" v="903"/>
          <ac:cxnSpMkLst>
            <pc:docMk/>
            <pc:sldMk cId="4141874914" sldId="430"/>
            <ac:cxnSpMk id="16" creationId="{60EE4FF2-0B18-A36A-CCC7-1BF5731EE7E3}"/>
          </ac:cxnSpMkLst>
        </pc:cxnChg>
        <pc:cxnChg chg="mod">
          <ac:chgData name="Ashwin Sunder" userId="0dc3bf7fb9413de4" providerId="LiveId" clId="{4AF140CF-3027-4683-B79B-0FBF16533509}" dt="2024-09-03T10:16:35.751" v="903"/>
          <ac:cxnSpMkLst>
            <pc:docMk/>
            <pc:sldMk cId="4141874914" sldId="430"/>
            <ac:cxnSpMk id="17" creationId="{FD2ABEF4-6C93-2D7E-B4C2-F6EE3EBCB407}"/>
          </ac:cxnSpMkLst>
        </pc:cxnChg>
        <pc:cxnChg chg="mod">
          <ac:chgData name="Ashwin Sunder" userId="0dc3bf7fb9413de4" providerId="LiveId" clId="{4AF140CF-3027-4683-B79B-0FBF16533509}" dt="2024-09-03T10:16:58.174" v="904" actId="208"/>
          <ac:cxnSpMkLst>
            <pc:docMk/>
            <pc:sldMk cId="4141874914" sldId="430"/>
            <ac:cxnSpMk id="18" creationId="{3BDF467B-3FD7-375F-3216-E9EB07DA7821}"/>
          </ac:cxnSpMkLst>
        </pc:cxnChg>
        <pc:cxnChg chg="mod">
          <ac:chgData name="Ashwin Sunder" userId="0dc3bf7fb9413de4" providerId="LiveId" clId="{4AF140CF-3027-4683-B79B-0FBF16533509}" dt="2024-09-03T10:17:26.102" v="909" actId="208"/>
          <ac:cxnSpMkLst>
            <pc:docMk/>
            <pc:sldMk cId="4141874914" sldId="430"/>
            <ac:cxnSpMk id="19" creationId="{4BE24CE7-DD6C-221F-F361-5D82DD92F9B4}"/>
          </ac:cxnSpMkLst>
        </pc:cxnChg>
        <pc:cxnChg chg="mod">
          <ac:chgData name="Ashwin Sunder" userId="0dc3bf7fb9413de4" providerId="LiveId" clId="{4AF140CF-3027-4683-B79B-0FBF16533509}" dt="2024-09-03T10:17:43.913" v="910" actId="208"/>
          <ac:cxnSpMkLst>
            <pc:docMk/>
            <pc:sldMk cId="4141874914" sldId="430"/>
            <ac:cxnSpMk id="20" creationId="{FBA5EFAA-A62B-6CA8-8906-21F0D3F868F6}"/>
          </ac:cxnSpMkLst>
        </pc:cxnChg>
        <pc:cxnChg chg="mod">
          <ac:chgData name="Ashwin Sunder" userId="0dc3bf7fb9413de4" providerId="LiveId" clId="{4AF140CF-3027-4683-B79B-0FBF16533509}" dt="2024-09-03T10:16:35.751" v="903"/>
          <ac:cxnSpMkLst>
            <pc:docMk/>
            <pc:sldMk cId="4141874914" sldId="430"/>
            <ac:cxnSpMk id="30" creationId="{F5BEE45C-F34E-DA52-94C8-AD25A1B86A8B}"/>
          </ac:cxnSpMkLst>
        </pc:cxnChg>
        <pc:cxnChg chg="mod">
          <ac:chgData name="Ashwin Sunder" userId="0dc3bf7fb9413de4" providerId="LiveId" clId="{4AF140CF-3027-4683-B79B-0FBF16533509}" dt="2024-09-03T10:16:35.751" v="903"/>
          <ac:cxnSpMkLst>
            <pc:docMk/>
            <pc:sldMk cId="4141874914" sldId="430"/>
            <ac:cxnSpMk id="31" creationId="{9BD9631C-C54C-DBE2-0B3F-FE821EDC7E86}"/>
          </ac:cxnSpMkLst>
        </pc:cxnChg>
        <pc:cxnChg chg="mod">
          <ac:chgData name="Ashwin Sunder" userId="0dc3bf7fb9413de4" providerId="LiveId" clId="{4AF140CF-3027-4683-B79B-0FBF16533509}" dt="2024-09-03T10:16:35.751" v="903"/>
          <ac:cxnSpMkLst>
            <pc:docMk/>
            <pc:sldMk cId="4141874914" sldId="430"/>
            <ac:cxnSpMk id="32" creationId="{7611C183-7E39-DA11-0CA0-701F72C335A4}"/>
          </ac:cxnSpMkLst>
        </pc:cxnChg>
        <pc:cxnChg chg="mod">
          <ac:chgData name="Ashwin Sunder" userId="0dc3bf7fb9413de4" providerId="LiveId" clId="{4AF140CF-3027-4683-B79B-0FBF16533509}" dt="2024-09-03T10:16:35.751" v="903"/>
          <ac:cxnSpMkLst>
            <pc:docMk/>
            <pc:sldMk cId="4141874914" sldId="430"/>
            <ac:cxnSpMk id="33" creationId="{0CD26FC2-6617-2787-A550-85B4D3D4A76F}"/>
          </ac:cxnSpMkLst>
        </pc:cxnChg>
        <pc:cxnChg chg="mod">
          <ac:chgData name="Ashwin Sunder" userId="0dc3bf7fb9413de4" providerId="LiveId" clId="{4AF140CF-3027-4683-B79B-0FBF16533509}" dt="2024-09-03T10:16:35.751" v="903"/>
          <ac:cxnSpMkLst>
            <pc:docMk/>
            <pc:sldMk cId="4141874914" sldId="430"/>
            <ac:cxnSpMk id="34" creationId="{289226C7-F5B6-BCBE-74AD-4065999E1CF6}"/>
          </ac:cxnSpMkLst>
        </pc:cxnChg>
        <pc:cxnChg chg="mod">
          <ac:chgData name="Ashwin Sunder" userId="0dc3bf7fb9413de4" providerId="LiveId" clId="{4AF140CF-3027-4683-B79B-0FBF16533509}" dt="2024-09-03T10:16:35.751" v="903"/>
          <ac:cxnSpMkLst>
            <pc:docMk/>
            <pc:sldMk cId="4141874914" sldId="430"/>
            <ac:cxnSpMk id="35" creationId="{33108AF1-2261-CBFB-17BB-7C029D4F3CFC}"/>
          </ac:cxnSpMkLst>
        </pc:cxnChg>
        <pc:cxnChg chg="mod">
          <ac:chgData name="Ashwin Sunder" userId="0dc3bf7fb9413de4" providerId="LiveId" clId="{4AF140CF-3027-4683-B79B-0FBF16533509}" dt="2024-09-03T10:16:35.751" v="903"/>
          <ac:cxnSpMkLst>
            <pc:docMk/>
            <pc:sldMk cId="4141874914" sldId="430"/>
            <ac:cxnSpMk id="37" creationId="{E464DDDE-C938-571F-59E1-748CACDEAA67}"/>
          </ac:cxnSpMkLst>
        </pc:cxnChg>
        <pc:cxnChg chg="mod">
          <ac:chgData name="Ashwin Sunder" userId="0dc3bf7fb9413de4" providerId="LiveId" clId="{4AF140CF-3027-4683-B79B-0FBF16533509}" dt="2024-09-03T10:16:35.751" v="903"/>
          <ac:cxnSpMkLst>
            <pc:docMk/>
            <pc:sldMk cId="4141874914" sldId="430"/>
            <ac:cxnSpMk id="38" creationId="{574A92AA-37A5-E3AA-AF1B-F4359FAE6FB2}"/>
          </ac:cxnSpMkLst>
        </pc:cxnChg>
        <pc:cxnChg chg="mod">
          <ac:chgData name="Ashwin Sunder" userId="0dc3bf7fb9413de4" providerId="LiveId" clId="{4AF140CF-3027-4683-B79B-0FBF16533509}" dt="2024-09-03T10:16:35.751" v="903"/>
          <ac:cxnSpMkLst>
            <pc:docMk/>
            <pc:sldMk cId="4141874914" sldId="430"/>
            <ac:cxnSpMk id="39" creationId="{1EA5AAB2-06C0-9843-16E1-7CE96FF5FE4C}"/>
          </ac:cxnSpMkLst>
        </pc:cxnChg>
      </pc:sldChg>
      <pc:sldChg chg="addSp modSp new del mod modAnim">
        <pc:chgData name="Ashwin Sunder" userId="0dc3bf7fb9413de4" providerId="LiveId" clId="{4AF140CF-3027-4683-B79B-0FBF16533509}" dt="2024-09-04T09:19:14.416" v="3570" actId="2696"/>
        <pc:sldMkLst>
          <pc:docMk/>
          <pc:sldMk cId="470072844" sldId="431"/>
        </pc:sldMkLst>
        <pc:spChg chg="mod">
          <ac:chgData name="Ashwin Sunder" userId="0dc3bf7fb9413de4" providerId="LiveId" clId="{4AF140CF-3027-4683-B79B-0FBF16533509}" dt="2024-09-03T10:36:40.161" v="1031" actId="20577"/>
          <ac:spMkLst>
            <pc:docMk/>
            <pc:sldMk cId="470072844" sldId="431"/>
            <ac:spMk id="2" creationId="{68E1AF64-578A-3F75-71B7-E7BD502D6C21}"/>
          </ac:spMkLst>
        </pc:spChg>
        <pc:spChg chg="mod">
          <ac:chgData name="Ashwin Sunder" userId="0dc3bf7fb9413de4" providerId="LiveId" clId="{4AF140CF-3027-4683-B79B-0FBF16533509}" dt="2024-09-04T09:05:31.638" v="3567"/>
          <ac:spMkLst>
            <pc:docMk/>
            <pc:sldMk cId="470072844" sldId="431"/>
            <ac:spMk id="3" creationId="{D307151D-F263-394D-F924-45A162A2DC29}"/>
          </ac:spMkLst>
        </pc:spChg>
        <pc:spChg chg="mod">
          <ac:chgData name="Ashwin Sunder" userId="0dc3bf7fb9413de4" providerId="LiveId" clId="{4AF140CF-3027-4683-B79B-0FBF16533509}" dt="2024-09-03T10:33:48.685" v="1008" actId="20577"/>
          <ac:spMkLst>
            <pc:docMk/>
            <pc:sldMk cId="470072844" sldId="431"/>
            <ac:spMk id="4" creationId="{4E2E678F-CE9C-039E-DE2B-BC59039C4B5B}"/>
          </ac:spMkLst>
        </pc:spChg>
        <pc:spChg chg="add mod">
          <ac:chgData name="Ashwin Sunder" userId="0dc3bf7fb9413de4" providerId="LiveId" clId="{4AF140CF-3027-4683-B79B-0FBF16533509}" dt="2024-09-04T09:05:31.638" v="3567"/>
          <ac:spMkLst>
            <pc:docMk/>
            <pc:sldMk cId="470072844" sldId="431"/>
            <ac:spMk id="7" creationId="{8C00F159-63EB-61E6-C11A-34ABB29BBFD9}"/>
          </ac:spMkLst>
        </pc:spChg>
        <pc:spChg chg="add mod">
          <ac:chgData name="Ashwin Sunder" userId="0dc3bf7fb9413de4" providerId="LiveId" clId="{4AF140CF-3027-4683-B79B-0FBF16533509}" dt="2024-09-04T09:05:31.638" v="3567"/>
          <ac:spMkLst>
            <pc:docMk/>
            <pc:sldMk cId="470072844" sldId="431"/>
            <ac:spMk id="9" creationId="{3C0FC9ED-F709-0A27-BC82-D951170DC94D}"/>
          </ac:spMkLst>
        </pc:spChg>
        <pc:picChg chg="add mod modCrop">
          <ac:chgData name="Ashwin Sunder" userId="0dc3bf7fb9413de4" providerId="LiveId" clId="{4AF140CF-3027-4683-B79B-0FBF16533509}" dt="2024-09-04T09:05:31.638" v="3567"/>
          <ac:picMkLst>
            <pc:docMk/>
            <pc:sldMk cId="470072844" sldId="431"/>
            <ac:picMk id="5" creationId="{D4200299-6DAE-C394-5448-66E132F692BA}"/>
          </ac:picMkLst>
        </pc:picChg>
        <pc:picChg chg="add mod modCrop">
          <ac:chgData name="Ashwin Sunder" userId="0dc3bf7fb9413de4" providerId="LiveId" clId="{4AF140CF-3027-4683-B79B-0FBF16533509}" dt="2024-09-04T09:05:31.638" v="3567"/>
          <ac:picMkLst>
            <pc:docMk/>
            <pc:sldMk cId="470072844" sldId="431"/>
            <ac:picMk id="6" creationId="{338F811F-D098-B74B-1715-152B383A76C1}"/>
          </ac:picMkLst>
        </pc:picChg>
        <pc:picChg chg="add mod">
          <ac:chgData name="Ashwin Sunder" userId="0dc3bf7fb9413de4" providerId="LiveId" clId="{4AF140CF-3027-4683-B79B-0FBF16533509}" dt="2024-09-03T12:19:54.660" v="1866"/>
          <ac:picMkLst>
            <pc:docMk/>
            <pc:sldMk cId="470072844" sldId="431"/>
            <ac:picMk id="8" creationId="{D0FF470B-07D8-E55F-8633-42DC1E37792D}"/>
          </ac:picMkLst>
        </pc:picChg>
      </pc:sldChg>
      <pc:sldChg chg="modSp add del mod modAnim">
        <pc:chgData name="Ashwin Sunder" userId="0dc3bf7fb9413de4" providerId="LiveId" clId="{4AF140CF-3027-4683-B79B-0FBF16533509}" dt="2024-09-20T08:54:56.031" v="15079" actId="2696"/>
        <pc:sldMkLst>
          <pc:docMk/>
          <pc:sldMk cId="2227502871" sldId="431"/>
        </pc:sldMkLst>
        <pc:spChg chg="mod">
          <ac:chgData name="Ashwin Sunder" userId="0dc3bf7fb9413de4" providerId="LiveId" clId="{4AF140CF-3027-4683-B79B-0FBF16533509}" dt="2024-09-20T08:54:39.897" v="15061" actId="20577"/>
          <ac:spMkLst>
            <pc:docMk/>
            <pc:sldMk cId="2227502871" sldId="431"/>
            <ac:spMk id="2" creationId="{68E1AF64-578A-3F75-71B7-E7BD502D6C21}"/>
          </ac:spMkLst>
        </pc:spChg>
      </pc:sldChg>
      <pc:sldChg chg="addSp delSp modSp add mod delAnim modAnim">
        <pc:chgData name="Ashwin Sunder" userId="0dc3bf7fb9413de4" providerId="LiveId" clId="{4AF140CF-3027-4683-B79B-0FBF16533509}" dt="2024-09-30T11:53:19.727" v="24017"/>
        <pc:sldMkLst>
          <pc:docMk/>
          <pc:sldMk cId="2337710896" sldId="431"/>
        </pc:sldMkLst>
        <pc:spChg chg="mod">
          <ac:chgData name="Ashwin Sunder" userId="0dc3bf7fb9413de4" providerId="LiveId" clId="{4AF140CF-3027-4683-B79B-0FBF16533509}" dt="2024-09-30T11:52:58.597" v="24014" actId="255"/>
          <ac:spMkLst>
            <pc:docMk/>
            <pc:sldMk cId="2337710896" sldId="431"/>
            <ac:spMk id="3" creationId="{D307151D-F263-394D-F924-45A162A2DC29}"/>
          </ac:spMkLst>
        </pc:spChg>
        <pc:spChg chg="mod">
          <ac:chgData name="Ashwin Sunder" userId="0dc3bf7fb9413de4" providerId="LiveId" clId="{4AF140CF-3027-4683-B79B-0FBF16533509}" dt="2024-09-20T10:03:18.902" v="16091" actId="20577"/>
          <ac:spMkLst>
            <pc:docMk/>
            <pc:sldMk cId="2337710896" sldId="431"/>
            <ac:spMk id="4" creationId="{4E2E678F-CE9C-039E-DE2B-BC59039C4B5B}"/>
          </ac:spMkLst>
        </pc:spChg>
        <pc:spChg chg="add del mod">
          <ac:chgData name="Ashwin Sunder" userId="0dc3bf7fb9413de4" providerId="LiveId" clId="{4AF140CF-3027-4683-B79B-0FBF16533509}" dt="2024-09-27T09:33:41.206" v="20356" actId="478"/>
          <ac:spMkLst>
            <pc:docMk/>
            <pc:sldMk cId="2337710896" sldId="431"/>
            <ac:spMk id="5" creationId="{8C00F159-63EB-61E6-C11A-34ABB29BBFD9}"/>
          </ac:spMkLst>
        </pc:spChg>
        <pc:spChg chg="add mod">
          <ac:chgData name="Ashwin Sunder" userId="0dc3bf7fb9413de4" providerId="LiveId" clId="{4AF140CF-3027-4683-B79B-0FBF16533509}" dt="2024-09-29T08:11:33.112" v="21235" actId="1076"/>
          <ac:spMkLst>
            <pc:docMk/>
            <pc:sldMk cId="2337710896" sldId="431"/>
            <ac:spMk id="6" creationId="{3C0FC9ED-F709-0A27-BC82-D951170DC94D}"/>
          </ac:spMkLst>
        </pc:spChg>
        <pc:spChg chg="del mod">
          <ac:chgData name="Ashwin Sunder" userId="0dc3bf7fb9413de4" providerId="LiveId" clId="{4AF140CF-3027-4683-B79B-0FBF16533509}" dt="2024-09-27T09:30:25.403" v="20336" actId="478"/>
          <ac:spMkLst>
            <pc:docMk/>
            <pc:sldMk cId="2337710896" sldId="431"/>
            <ac:spMk id="7" creationId="{8C00F159-63EB-61E6-C11A-34ABB29BBFD9}"/>
          </ac:spMkLst>
        </pc:spChg>
        <pc:spChg chg="mod">
          <ac:chgData name="Ashwin Sunder" userId="0dc3bf7fb9413de4" providerId="LiveId" clId="{4AF140CF-3027-4683-B79B-0FBF16533509}" dt="2024-09-29T08:12:38.266" v="21243" actId="1076"/>
          <ac:spMkLst>
            <pc:docMk/>
            <pc:sldMk cId="2337710896" sldId="431"/>
            <ac:spMk id="9" creationId="{3C0FC9ED-F709-0A27-BC82-D951170DC94D}"/>
          </ac:spMkLst>
        </pc:spChg>
        <pc:spChg chg="add del mod">
          <ac:chgData name="Ashwin Sunder" userId="0dc3bf7fb9413de4" providerId="LiveId" clId="{4AF140CF-3027-4683-B79B-0FBF16533509}" dt="2024-09-27T09:29:53.105" v="20335" actId="478"/>
          <ac:spMkLst>
            <pc:docMk/>
            <pc:sldMk cId="2337710896" sldId="431"/>
            <ac:spMk id="11" creationId="{0F56D3C2-73B1-3272-14D8-8CAF3426BF92}"/>
          </ac:spMkLst>
        </pc:spChg>
        <pc:spChg chg="mod">
          <ac:chgData name="Ashwin Sunder" userId="0dc3bf7fb9413de4" providerId="LiveId" clId="{4AF140CF-3027-4683-B79B-0FBF16533509}" dt="2024-09-27T09:32:08.138" v="20348"/>
          <ac:spMkLst>
            <pc:docMk/>
            <pc:sldMk cId="2337710896" sldId="431"/>
            <ac:spMk id="24" creationId="{DC8983C4-8EA8-C8A4-E48C-0FB591A69DA2}"/>
          </ac:spMkLst>
        </pc:spChg>
        <pc:spChg chg="mod">
          <ac:chgData name="Ashwin Sunder" userId="0dc3bf7fb9413de4" providerId="LiveId" clId="{4AF140CF-3027-4683-B79B-0FBF16533509}" dt="2024-09-27T09:32:08.138" v="20348"/>
          <ac:spMkLst>
            <pc:docMk/>
            <pc:sldMk cId="2337710896" sldId="431"/>
            <ac:spMk id="25" creationId="{53858475-761A-5901-C523-E19087F471C8}"/>
          </ac:spMkLst>
        </pc:spChg>
        <pc:spChg chg="mod">
          <ac:chgData name="Ashwin Sunder" userId="0dc3bf7fb9413de4" providerId="LiveId" clId="{4AF140CF-3027-4683-B79B-0FBF16533509}" dt="2024-09-27T09:32:08.138" v="20348"/>
          <ac:spMkLst>
            <pc:docMk/>
            <pc:sldMk cId="2337710896" sldId="431"/>
            <ac:spMk id="27" creationId="{693BF348-80B9-061F-BB5B-95C81FED79AE}"/>
          </ac:spMkLst>
        </pc:spChg>
        <pc:spChg chg="mod">
          <ac:chgData name="Ashwin Sunder" userId="0dc3bf7fb9413de4" providerId="LiveId" clId="{4AF140CF-3027-4683-B79B-0FBF16533509}" dt="2024-09-27T09:32:08.138" v="20348"/>
          <ac:spMkLst>
            <pc:docMk/>
            <pc:sldMk cId="2337710896" sldId="431"/>
            <ac:spMk id="28" creationId="{12BDFD4F-AB9B-52EA-0569-DCAE26A39F66}"/>
          </ac:spMkLst>
        </pc:spChg>
        <pc:spChg chg="mod">
          <ac:chgData name="Ashwin Sunder" userId="0dc3bf7fb9413de4" providerId="LiveId" clId="{4AF140CF-3027-4683-B79B-0FBF16533509}" dt="2024-09-27T09:32:08.138" v="20348"/>
          <ac:spMkLst>
            <pc:docMk/>
            <pc:sldMk cId="2337710896" sldId="431"/>
            <ac:spMk id="29" creationId="{8E42C052-0160-ED3D-B883-E113BD9099EC}"/>
          </ac:spMkLst>
        </pc:spChg>
        <pc:spChg chg="mod">
          <ac:chgData name="Ashwin Sunder" userId="0dc3bf7fb9413de4" providerId="LiveId" clId="{4AF140CF-3027-4683-B79B-0FBF16533509}" dt="2024-09-27T09:32:08.138" v="20348"/>
          <ac:spMkLst>
            <pc:docMk/>
            <pc:sldMk cId="2337710896" sldId="431"/>
            <ac:spMk id="30" creationId="{2C1A0C77-0FE5-D89E-1D95-66F95AC7A70B}"/>
          </ac:spMkLst>
        </pc:spChg>
        <pc:spChg chg="mod">
          <ac:chgData name="Ashwin Sunder" userId="0dc3bf7fb9413de4" providerId="LiveId" clId="{4AF140CF-3027-4683-B79B-0FBF16533509}" dt="2024-09-27T09:32:08.138" v="20348"/>
          <ac:spMkLst>
            <pc:docMk/>
            <pc:sldMk cId="2337710896" sldId="431"/>
            <ac:spMk id="31" creationId="{5CF5A49C-BFFC-49F3-988D-A3566F48AB69}"/>
          </ac:spMkLst>
        </pc:spChg>
        <pc:grpChg chg="add del mod">
          <ac:chgData name="Ashwin Sunder" userId="0dc3bf7fb9413de4" providerId="LiveId" clId="{4AF140CF-3027-4683-B79B-0FBF16533509}" dt="2024-09-27T09:33:41.206" v="20356" actId="478"/>
          <ac:grpSpMkLst>
            <pc:docMk/>
            <pc:sldMk cId="2337710896" sldId="431"/>
            <ac:grpSpMk id="32" creationId="{2106FCC8-343F-4D56-F629-9E30F99C8440}"/>
          </ac:grpSpMkLst>
        </pc:grpChg>
        <pc:picChg chg="del mod modCrop">
          <ac:chgData name="Ashwin Sunder" userId="0dc3bf7fb9413de4" providerId="LiveId" clId="{4AF140CF-3027-4683-B79B-0FBF16533509}" dt="2024-09-20T10:07:04.318" v="16297" actId="478"/>
          <ac:picMkLst>
            <pc:docMk/>
            <pc:sldMk cId="2337710896" sldId="431"/>
            <ac:picMk id="5" creationId="{D4200299-6DAE-C394-5448-66E132F692BA}"/>
          </ac:picMkLst>
        </pc:picChg>
        <pc:picChg chg="del mod">
          <ac:chgData name="Ashwin Sunder" userId="0dc3bf7fb9413de4" providerId="LiveId" clId="{4AF140CF-3027-4683-B79B-0FBF16533509}" dt="2024-09-20T10:07:05.252" v="16298" actId="478"/>
          <ac:picMkLst>
            <pc:docMk/>
            <pc:sldMk cId="2337710896" sldId="431"/>
            <ac:picMk id="6" creationId="{338F811F-D098-B74B-1715-152B383A76C1}"/>
          </ac:picMkLst>
        </pc:picChg>
        <pc:picChg chg="add del mod modCrop">
          <ac:chgData name="Ashwin Sunder" userId="0dc3bf7fb9413de4" providerId="LiveId" clId="{4AF140CF-3027-4683-B79B-0FBF16533509}" dt="2024-09-27T09:30:27.146" v="20337" actId="478"/>
          <ac:picMkLst>
            <pc:docMk/>
            <pc:sldMk cId="2337710896" sldId="431"/>
            <ac:picMk id="8" creationId="{3844E991-72E7-C65A-A377-C8D43D90DEC0}"/>
          </ac:picMkLst>
        </pc:picChg>
        <pc:picChg chg="add mod modCrop">
          <ac:chgData name="Ashwin Sunder" userId="0dc3bf7fb9413de4" providerId="LiveId" clId="{4AF140CF-3027-4683-B79B-0FBF16533509}" dt="2024-09-29T08:12:32.231" v="21242" actId="1076"/>
          <ac:picMkLst>
            <pc:docMk/>
            <pc:sldMk cId="2337710896" sldId="431"/>
            <ac:picMk id="12" creationId="{D0C8369C-2369-4768-2924-33A92E73CC4A}"/>
          </ac:picMkLst>
        </pc:picChg>
        <pc:picChg chg="add mod modCrop">
          <ac:chgData name="Ashwin Sunder" userId="0dc3bf7fb9413de4" providerId="LiveId" clId="{4AF140CF-3027-4683-B79B-0FBF16533509}" dt="2024-09-29T08:11:39.096" v="21236" actId="1076"/>
          <ac:picMkLst>
            <pc:docMk/>
            <pc:sldMk cId="2337710896" sldId="431"/>
            <ac:picMk id="33" creationId="{FE97588D-863E-0035-758A-E5E0B1094D84}"/>
          </ac:picMkLst>
        </pc:picChg>
        <pc:cxnChg chg="mod">
          <ac:chgData name="Ashwin Sunder" userId="0dc3bf7fb9413de4" providerId="LiveId" clId="{4AF140CF-3027-4683-B79B-0FBF16533509}" dt="2024-09-27T09:32:08.138" v="20348"/>
          <ac:cxnSpMkLst>
            <pc:docMk/>
            <pc:sldMk cId="2337710896" sldId="431"/>
            <ac:cxnSpMk id="22" creationId="{2F61109A-D622-A010-EF78-06337C36E32A}"/>
          </ac:cxnSpMkLst>
        </pc:cxnChg>
        <pc:cxnChg chg="mod">
          <ac:chgData name="Ashwin Sunder" userId="0dc3bf7fb9413de4" providerId="LiveId" clId="{4AF140CF-3027-4683-B79B-0FBF16533509}" dt="2024-09-27T09:32:08.138" v="20348"/>
          <ac:cxnSpMkLst>
            <pc:docMk/>
            <pc:sldMk cId="2337710896" sldId="431"/>
            <ac:cxnSpMk id="23" creationId="{41C9CED2-D4C2-C334-497D-EAAA9D757ECC}"/>
          </ac:cxnSpMkLst>
        </pc:cxnChg>
        <pc:cxnChg chg="mod">
          <ac:chgData name="Ashwin Sunder" userId="0dc3bf7fb9413de4" providerId="LiveId" clId="{4AF140CF-3027-4683-B79B-0FBF16533509}" dt="2024-09-27T09:32:08.138" v="20348"/>
          <ac:cxnSpMkLst>
            <pc:docMk/>
            <pc:sldMk cId="2337710896" sldId="431"/>
            <ac:cxnSpMk id="26" creationId="{3AE882C3-58F4-0959-5492-52654D2CA7DD}"/>
          </ac:cxnSpMkLst>
        </pc:cxnChg>
      </pc:sldChg>
      <pc:sldChg chg="addSp delSp modSp new del mod modAnim">
        <pc:chgData name="Ashwin Sunder" userId="0dc3bf7fb9413de4" providerId="LiveId" clId="{4AF140CF-3027-4683-B79B-0FBF16533509}" dt="2024-09-27T09:46:43.374" v="20449" actId="2696"/>
        <pc:sldMkLst>
          <pc:docMk/>
          <pc:sldMk cId="130966924" sldId="432"/>
        </pc:sldMkLst>
        <pc:spChg chg="mod">
          <ac:chgData name="Ashwin Sunder" userId="0dc3bf7fb9413de4" providerId="LiveId" clId="{4AF140CF-3027-4683-B79B-0FBF16533509}" dt="2024-09-20T09:55:41.665" v="15977" actId="20577"/>
          <ac:spMkLst>
            <pc:docMk/>
            <pc:sldMk cId="130966924" sldId="432"/>
            <ac:spMk id="2" creationId="{52633024-A8D8-B54A-8B77-80A7FB507A2C}"/>
          </ac:spMkLst>
        </pc:spChg>
        <pc:spChg chg="mod">
          <ac:chgData name="Ashwin Sunder" userId="0dc3bf7fb9413de4" providerId="LiveId" clId="{4AF140CF-3027-4683-B79B-0FBF16533509}" dt="2024-09-25T15:00:50.814" v="19966" actId="20577"/>
          <ac:spMkLst>
            <pc:docMk/>
            <pc:sldMk cId="130966924" sldId="432"/>
            <ac:spMk id="3" creationId="{AE350CB2-B5B5-2DF1-A4E2-5A16041B05C9}"/>
          </ac:spMkLst>
        </pc:spChg>
        <pc:spChg chg="mod">
          <ac:chgData name="Ashwin Sunder" userId="0dc3bf7fb9413de4" providerId="LiveId" clId="{4AF140CF-3027-4683-B79B-0FBF16533509}" dt="2024-09-24T08:38:40.426" v="19137" actId="20577"/>
          <ac:spMkLst>
            <pc:docMk/>
            <pc:sldMk cId="130966924" sldId="432"/>
            <ac:spMk id="4" creationId="{8745B2B3-E23B-E4BF-92AE-44788EA5C3CD}"/>
          </ac:spMkLst>
        </pc:spChg>
        <pc:graphicFrameChg chg="add del mod">
          <ac:chgData name="Ashwin Sunder" userId="0dc3bf7fb9413de4" providerId="LiveId" clId="{4AF140CF-3027-4683-B79B-0FBF16533509}" dt="2024-09-03T11:28:34.342" v="1624" actId="21"/>
          <ac:graphicFrameMkLst>
            <pc:docMk/>
            <pc:sldMk cId="130966924" sldId="432"/>
            <ac:graphicFrameMk id="5" creationId="{816162DD-B06A-8CAD-DAA4-E8F0C6FDBD3F}"/>
          </ac:graphicFrameMkLst>
        </pc:graphicFrameChg>
      </pc:sldChg>
      <pc:sldChg chg="addSp delSp modSp new mod modAnim">
        <pc:chgData name="Ashwin Sunder" userId="0dc3bf7fb9413de4" providerId="LiveId" clId="{4AF140CF-3027-4683-B79B-0FBF16533509}" dt="2024-09-27T11:06:11.573" v="20959"/>
        <pc:sldMkLst>
          <pc:docMk/>
          <pc:sldMk cId="616514344" sldId="433"/>
        </pc:sldMkLst>
        <pc:spChg chg="mod">
          <ac:chgData name="Ashwin Sunder" userId="0dc3bf7fb9413de4" providerId="LiveId" clId="{4AF140CF-3027-4683-B79B-0FBF16533509}" dt="2024-09-20T09:56:28.755" v="16041" actId="20577"/>
          <ac:spMkLst>
            <pc:docMk/>
            <pc:sldMk cId="616514344" sldId="433"/>
            <ac:spMk id="2" creationId="{C56C688F-4CD6-E879-4234-3513AA192C2D}"/>
          </ac:spMkLst>
        </pc:spChg>
        <pc:spChg chg="add del mod">
          <ac:chgData name="Ashwin Sunder" userId="0dc3bf7fb9413de4" providerId="LiveId" clId="{4AF140CF-3027-4683-B79B-0FBF16533509}" dt="2024-09-03T11:33:45.407" v="1668" actId="21"/>
          <ac:spMkLst>
            <pc:docMk/>
            <pc:sldMk cId="616514344" sldId="433"/>
            <ac:spMk id="3" creationId="{31460610-AD7A-231A-3740-5954232439ED}"/>
          </ac:spMkLst>
        </pc:spChg>
        <pc:spChg chg="mod">
          <ac:chgData name="Ashwin Sunder" userId="0dc3bf7fb9413de4" providerId="LiveId" clId="{4AF140CF-3027-4683-B79B-0FBF16533509}" dt="2024-09-27T09:46:33.120" v="20448" actId="20577"/>
          <ac:spMkLst>
            <pc:docMk/>
            <pc:sldMk cId="616514344" sldId="433"/>
            <ac:spMk id="4" creationId="{D7F6C854-5180-31F5-F41D-18B843E9347B}"/>
          </ac:spMkLst>
        </pc:spChg>
        <pc:spChg chg="mod">
          <ac:chgData name="Ashwin Sunder" userId="0dc3bf7fb9413de4" providerId="LiveId" clId="{4AF140CF-3027-4683-B79B-0FBF16533509}" dt="2024-09-23T09:30:20.101" v="17947" actId="18245"/>
          <ac:spMkLst>
            <pc:docMk/>
            <pc:sldMk cId="616514344" sldId="433"/>
            <ac:spMk id="5" creationId="{24D6FA51-0079-A07C-0F6C-3AED919DF974}"/>
          </ac:spMkLst>
        </pc:spChg>
        <pc:spChg chg="mod topLvl">
          <ac:chgData name="Ashwin Sunder" userId="0dc3bf7fb9413de4" providerId="LiveId" clId="{4AF140CF-3027-4683-B79B-0FBF16533509}" dt="2024-09-09T10:52:20.186" v="12406" actId="165"/>
          <ac:spMkLst>
            <pc:docMk/>
            <pc:sldMk cId="616514344" sldId="433"/>
            <ac:spMk id="13" creationId="{4822FF1E-B85B-CB86-59C4-D08DD562FCD3}"/>
          </ac:spMkLst>
        </pc:spChg>
        <pc:spChg chg="mod topLvl">
          <ac:chgData name="Ashwin Sunder" userId="0dc3bf7fb9413de4" providerId="LiveId" clId="{4AF140CF-3027-4683-B79B-0FBF16533509}" dt="2024-09-09T10:52:20.186" v="12406" actId="165"/>
          <ac:spMkLst>
            <pc:docMk/>
            <pc:sldMk cId="616514344" sldId="433"/>
            <ac:spMk id="14" creationId="{27578DDD-7671-582C-378A-A66740710F69}"/>
          </ac:spMkLst>
        </pc:spChg>
        <pc:spChg chg="mod topLvl">
          <ac:chgData name="Ashwin Sunder" userId="0dc3bf7fb9413de4" providerId="LiveId" clId="{4AF140CF-3027-4683-B79B-0FBF16533509}" dt="2024-09-09T10:52:20.186" v="12406" actId="165"/>
          <ac:spMkLst>
            <pc:docMk/>
            <pc:sldMk cId="616514344" sldId="433"/>
            <ac:spMk id="15" creationId="{8A529223-220E-D14C-C1DB-B9DDA82A6B22}"/>
          </ac:spMkLst>
        </pc:spChg>
        <pc:spChg chg="mod topLvl">
          <ac:chgData name="Ashwin Sunder" userId="0dc3bf7fb9413de4" providerId="LiveId" clId="{4AF140CF-3027-4683-B79B-0FBF16533509}" dt="2024-09-09T10:52:20.186" v="12406" actId="165"/>
          <ac:spMkLst>
            <pc:docMk/>
            <pc:sldMk cId="616514344" sldId="433"/>
            <ac:spMk id="16" creationId="{47667FC1-47A9-FBA3-9904-957DF84200FA}"/>
          </ac:spMkLst>
        </pc:spChg>
        <pc:spChg chg="mod topLvl">
          <ac:chgData name="Ashwin Sunder" userId="0dc3bf7fb9413de4" providerId="LiveId" clId="{4AF140CF-3027-4683-B79B-0FBF16533509}" dt="2024-09-09T10:52:20.186" v="12406" actId="165"/>
          <ac:spMkLst>
            <pc:docMk/>
            <pc:sldMk cId="616514344" sldId="433"/>
            <ac:spMk id="17" creationId="{933A1A8F-CF7A-B42A-F4D3-83BC37A82341}"/>
          </ac:spMkLst>
        </pc:spChg>
        <pc:spChg chg="mod topLvl">
          <ac:chgData name="Ashwin Sunder" userId="0dc3bf7fb9413de4" providerId="LiveId" clId="{4AF140CF-3027-4683-B79B-0FBF16533509}" dt="2024-09-09T10:52:20.186" v="12406" actId="165"/>
          <ac:spMkLst>
            <pc:docMk/>
            <pc:sldMk cId="616514344" sldId="433"/>
            <ac:spMk id="18" creationId="{6F19AB03-41AB-BAB6-AD83-18E5D1D3A1A4}"/>
          </ac:spMkLst>
        </pc:spChg>
        <pc:spChg chg="mod topLvl">
          <ac:chgData name="Ashwin Sunder" userId="0dc3bf7fb9413de4" providerId="LiveId" clId="{4AF140CF-3027-4683-B79B-0FBF16533509}" dt="2024-09-09T10:52:20.186" v="12406" actId="165"/>
          <ac:spMkLst>
            <pc:docMk/>
            <pc:sldMk cId="616514344" sldId="433"/>
            <ac:spMk id="19" creationId="{D181A7DB-B287-881C-962B-3AD1B3BE20E4}"/>
          </ac:spMkLst>
        </pc:spChg>
        <pc:spChg chg="mod topLvl">
          <ac:chgData name="Ashwin Sunder" userId="0dc3bf7fb9413de4" providerId="LiveId" clId="{4AF140CF-3027-4683-B79B-0FBF16533509}" dt="2024-09-09T10:52:20.186" v="12406" actId="165"/>
          <ac:spMkLst>
            <pc:docMk/>
            <pc:sldMk cId="616514344" sldId="433"/>
            <ac:spMk id="20" creationId="{10D177FE-921F-2103-2F06-CF50F6F380B7}"/>
          </ac:spMkLst>
        </pc:spChg>
        <pc:spChg chg="mod topLvl">
          <ac:chgData name="Ashwin Sunder" userId="0dc3bf7fb9413de4" providerId="LiveId" clId="{4AF140CF-3027-4683-B79B-0FBF16533509}" dt="2024-09-09T10:52:20.186" v="12406" actId="165"/>
          <ac:spMkLst>
            <pc:docMk/>
            <pc:sldMk cId="616514344" sldId="433"/>
            <ac:spMk id="21" creationId="{2AEB59AD-10AD-18E1-D6F7-EBC93E0B9001}"/>
          </ac:spMkLst>
        </pc:spChg>
        <pc:spChg chg="mod topLvl">
          <ac:chgData name="Ashwin Sunder" userId="0dc3bf7fb9413de4" providerId="LiveId" clId="{4AF140CF-3027-4683-B79B-0FBF16533509}" dt="2024-09-09T10:52:20.186" v="12406" actId="165"/>
          <ac:spMkLst>
            <pc:docMk/>
            <pc:sldMk cId="616514344" sldId="433"/>
            <ac:spMk id="28" creationId="{798595A6-1481-9A8E-E2C0-493096256B69}"/>
          </ac:spMkLst>
        </pc:spChg>
        <pc:spChg chg="mod topLvl">
          <ac:chgData name="Ashwin Sunder" userId="0dc3bf7fb9413de4" providerId="LiveId" clId="{4AF140CF-3027-4683-B79B-0FBF16533509}" dt="2024-09-09T10:52:20.186" v="12406" actId="165"/>
          <ac:spMkLst>
            <pc:docMk/>
            <pc:sldMk cId="616514344" sldId="433"/>
            <ac:spMk id="32" creationId="{6A98C110-05B5-C731-AE1C-03467C639807}"/>
          </ac:spMkLst>
        </pc:spChg>
        <pc:spChg chg="mod topLvl">
          <ac:chgData name="Ashwin Sunder" userId="0dc3bf7fb9413de4" providerId="LiveId" clId="{4AF140CF-3027-4683-B79B-0FBF16533509}" dt="2024-09-09T10:52:20.186" v="12406" actId="165"/>
          <ac:spMkLst>
            <pc:docMk/>
            <pc:sldMk cId="616514344" sldId="433"/>
            <ac:spMk id="33" creationId="{D0E45435-50E4-3D35-9C49-2659BEA628C8}"/>
          </ac:spMkLst>
        </pc:spChg>
        <pc:spChg chg="mod topLvl">
          <ac:chgData name="Ashwin Sunder" userId="0dc3bf7fb9413de4" providerId="LiveId" clId="{4AF140CF-3027-4683-B79B-0FBF16533509}" dt="2024-09-09T10:52:20.186" v="12406" actId="165"/>
          <ac:spMkLst>
            <pc:docMk/>
            <pc:sldMk cId="616514344" sldId="433"/>
            <ac:spMk id="34" creationId="{1ADE19B2-0940-5D52-FAFD-F6480AF60037}"/>
          </ac:spMkLst>
        </pc:spChg>
        <pc:spChg chg="mod">
          <ac:chgData name="Ashwin Sunder" userId="0dc3bf7fb9413de4" providerId="LiveId" clId="{4AF140CF-3027-4683-B79B-0FBF16533509}" dt="2024-09-23T09:30:20.101" v="17947" actId="18245"/>
          <ac:spMkLst>
            <pc:docMk/>
            <pc:sldMk cId="616514344" sldId="433"/>
            <ac:spMk id="36" creationId="{5793D42B-75BD-5EDB-30B3-F9CB1B49296D}"/>
          </ac:spMkLst>
        </pc:spChg>
        <pc:spChg chg="mod">
          <ac:chgData name="Ashwin Sunder" userId="0dc3bf7fb9413de4" providerId="LiveId" clId="{4AF140CF-3027-4683-B79B-0FBF16533509}" dt="2024-09-23T09:30:20.101" v="17947" actId="18245"/>
          <ac:spMkLst>
            <pc:docMk/>
            <pc:sldMk cId="616514344" sldId="433"/>
            <ac:spMk id="39" creationId="{D63D4774-B37F-1A6A-63FC-799E2832E9D9}"/>
          </ac:spMkLst>
        </pc:spChg>
        <pc:spChg chg="mod">
          <ac:chgData name="Ashwin Sunder" userId="0dc3bf7fb9413de4" providerId="LiveId" clId="{4AF140CF-3027-4683-B79B-0FBF16533509}" dt="2024-09-23T09:30:20.101" v="17947" actId="18245"/>
          <ac:spMkLst>
            <pc:docMk/>
            <pc:sldMk cId="616514344" sldId="433"/>
            <ac:spMk id="41" creationId="{7724203A-9C92-677A-4EA0-22F6AF87FA8D}"/>
          </ac:spMkLst>
        </pc:spChg>
        <pc:spChg chg="mod">
          <ac:chgData name="Ashwin Sunder" userId="0dc3bf7fb9413de4" providerId="LiveId" clId="{4AF140CF-3027-4683-B79B-0FBF16533509}" dt="2024-09-23T09:30:20.101" v="17947" actId="18245"/>
          <ac:spMkLst>
            <pc:docMk/>
            <pc:sldMk cId="616514344" sldId="433"/>
            <ac:spMk id="43" creationId="{6C6B0B35-0A8A-6F17-C1E4-282F94C736A6}"/>
          </ac:spMkLst>
        </pc:spChg>
        <pc:spChg chg="mod">
          <ac:chgData name="Ashwin Sunder" userId="0dc3bf7fb9413de4" providerId="LiveId" clId="{4AF140CF-3027-4683-B79B-0FBF16533509}" dt="2024-09-23T09:30:20.101" v="17947" actId="18245"/>
          <ac:spMkLst>
            <pc:docMk/>
            <pc:sldMk cId="616514344" sldId="433"/>
            <ac:spMk id="44" creationId="{A9BC53E1-459C-AD82-C5BB-904C42597F9B}"/>
          </ac:spMkLst>
        </pc:spChg>
        <pc:spChg chg="mod">
          <ac:chgData name="Ashwin Sunder" userId="0dc3bf7fb9413de4" providerId="LiveId" clId="{4AF140CF-3027-4683-B79B-0FBF16533509}" dt="2024-09-23T09:30:13.118" v="17946" actId="18245"/>
          <ac:spMkLst>
            <pc:docMk/>
            <pc:sldMk cId="616514344" sldId="433"/>
            <ac:spMk id="45" creationId="{2FF9A8F4-A839-71D0-76AA-B2F59749451F}"/>
          </ac:spMkLst>
        </pc:spChg>
        <pc:spChg chg="mod topLvl">
          <ac:chgData name="Ashwin Sunder" userId="0dc3bf7fb9413de4" providerId="LiveId" clId="{4AF140CF-3027-4683-B79B-0FBF16533509}" dt="2024-09-23T09:34:35.145" v="17987" actId="165"/>
          <ac:spMkLst>
            <pc:docMk/>
            <pc:sldMk cId="616514344" sldId="433"/>
            <ac:spMk id="47" creationId="{0D566FCC-2FE4-2CC9-5366-C1CBD363B0D3}"/>
          </ac:spMkLst>
        </pc:spChg>
        <pc:spChg chg="mod topLvl">
          <ac:chgData name="Ashwin Sunder" userId="0dc3bf7fb9413de4" providerId="LiveId" clId="{4AF140CF-3027-4683-B79B-0FBF16533509}" dt="2024-09-23T09:34:35.145" v="17987" actId="165"/>
          <ac:spMkLst>
            <pc:docMk/>
            <pc:sldMk cId="616514344" sldId="433"/>
            <ac:spMk id="48" creationId="{E259816A-78E1-6395-DDAF-7A13DF2E24A1}"/>
          </ac:spMkLst>
        </pc:spChg>
        <pc:spChg chg="mod topLvl">
          <ac:chgData name="Ashwin Sunder" userId="0dc3bf7fb9413de4" providerId="LiveId" clId="{4AF140CF-3027-4683-B79B-0FBF16533509}" dt="2024-09-23T09:34:35.145" v="17987" actId="165"/>
          <ac:spMkLst>
            <pc:docMk/>
            <pc:sldMk cId="616514344" sldId="433"/>
            <ac:spMk id="49" creationId="{4E98D22E-1340-FAD7-1E03-5ADC6A2AEBD2}"/>
          </ac:spMkLst>
        </pc:spChg>
        <pc:spChg chg="mod topLvl">
          <ac:chgData name="Ashwin Sunder" userId="0dc3bf7fb9413de4" providerId="LiveId" clId="{4AF140CF-3027-4683-B79B-0FBF16533509}" dt="2024-09-23T09:34:35.145" v="17987" actId="165"/>
          <ac:spMkLst>
            <pc:docMk/>
            <pc:sldMk cId="616514344" sldId="433"/>
            <ac:spMk id="51" creationId="{78473A70-4100-AF68-5D3E-D9E7BE2209D8}"/>
          </ac:spMkLst>
        </pc:spChg>
        <pc:spChg chg="mod topLvl">
          <ac:chgData name="Ashwin Sunder" userId="0dc3bf7fb9413de4" providerId="LiveId" clId="{4AF140CF-3027-4683-B79B-0FBF16533509}" dt="2024-09-23T09:34:35.145" v="17987" actId="165"/>
          <ac:spMkLst>
            <pc:docMk/>
            <pc:sldMk cId="616514344" sldId="433"/>
            <ac:spMk id="52" creationId="{AA9A12B3-1A01-3F89-D3FC-887A7C53375D}"/>
          </ac:spMkLst>
        </pc:spChg>
        <pc:spChg chg="mod topLvl">
          <ac:chgData name="Ashwin Sunder" userId="0dc3bf7fb9413de4" providerId="LiveId" clId="{4AF140CF-3027-4683-B79B-0FBF16533509}" dt="2024-09-23T09:34:35.145" v="17987" actId="165"/>
          <ac:spMkLst>
            <pc:docMk/>
            <pc:sldMk cId="616514344" sldId="433"/>
            <ac:spMk id="53" creationId="{5516A123-AF0F-0B0D-E742-EBAAA505A6F9}"/>
          </ac:spMkLst>
        </pc:spChg>
        <pc:spChg chg="mod topLvl">
          <ac:chgData name="Ashwin Sunder" userId="0dc3bf7fb9413de4" providerId="LiveId" clId="{4AF140CF-3027-4683-B79B-0FBF16533509}" dt="2024-09-23T09:34:35.145" v="17987" actId="165"/>
          <ac:spMkLst>
            <pc:docMk/>
            <pc:sldMk cId="616514344" sldId="433"/>
            <ac:spMk id="55" creationId="{071F44AC-511C-E67D-892A-5B8FA2D13E9D}"/>
          </ac:spMkLst>
        </pc:spChg>
        <pc:spChg chg="mod">
          <ac:chgData name="Ashwin Sunder" userId="0dc3bf7fb9413de4" providerId="LiveId" clId="{4AF140CF-3027-4683-B79B-0FBF16533509}" dt="2024-09-23T09:35:03.850" v="17988" actId="18245"/>
          <ac:spMkLst>
            <pc:docMk/>
            <pc:sldMk cId="616514344" sldId="433"/>
            <ac:spMk id="57" creationId="{A8CCE9B5-88D9-D5F8-9E5D-53B67EC52AC8}"/>
          </ac:spMkLst>
        </pc:spChg>
        <pc:spChg chg="mod">
          <ac:chgData name="Ashwin Sunder" userId="0dc3bf7fb9413de4" providerId="LiveId" clId="{4AF140CF-3027-4683-B79B-0FBF16533509}" dt="2024-09-23T09:35:03.850" v="17988" actId="18245"/>
          <ac:spMkLst>
            <pc:docMk/>
            <pc:sldMk cId="616514344" sldId="433"/>
            <ac:spMk id="59" creationId="{C5E0E5B2-13E6-B67D-4DF6-67306FEC6552}"/>
          </ac:spMkLst>
        </pc:spChg>
        <pc:spChg chg="mod">
          <ac:chgData name="Ashwin Sunder" userId="0dc3bf7fb9413de4" providerId="LiveId" clId="{4AF140CF-3027-4683-B79B-0FBF16533509}" dt="2024-09-23T09:35:03.850" v="17988" actId="18245"/>
          <ac:spMkLst>
            <pc:docMk/>
            <pc:sldMk cId="616514344" sldId="433"/>
            <ac:spMk id="60" creationId="{EDDA9A49-8A9A-F22D-474B-9A11A80F8853}"/>
          </ac:spMkLst>
        </pc:spChg>
        <pc:spChg chg="mod">
          <ac:chgData name="Ashwin Sunder" userId="0dc3bf7fb9413de4" providerId="LiveId" clId="{4AF140CF-3027-4683-B79B-0FBF16533509}" dt="2024-09-23T09:35:03.850" v="17988" actId="18245"/>
          <ac:spMkLst>
            <pc:docMk/>
            <pc:sldMk cId="616514344" sldId="433"/>
            <ac:spMk id="61" creationId="{661F579B-4F45-65B0-1E21-96EFF1E0885F}"/>
          </ac:spMkLst>
        </pc:spChg>
        <pc:spChg chg="mod">
          <ac:chgData name="Ashwin Sunder" userId="0dc3bf7fb9413de4" providerId="LiveId" clId="{4AF140CF-3027-4683-B79B-0FBF16533509}" dt="2024-09-23T09:35:03.850" v="17988" actId="18245"/>
          <ac:spMkLst>
            <pc:docMk/>
            <pc:sldMk cId="616514344" sldId="433"/>
            <ac:spMk id="62" creationId="{95ADB7B8-F506-2242-CFFB-3631AD216351}"/>
          </ac:spMkLst>
        </pc:spChg>
        <pc:spChg chg="mod">
          <ac:chgData name="Ashwin Sunder" userId="0dc3bf7fb9413de4" providerId="LiveId" clId="{4AF140CF-3027-4683-B79B-0FBF16533509}" dt="2024-09-23T09:35:03.850" v="17988" actId="18245"/>
          <ac:spMkLst>
            <pc:docMk/>
            <pc:sldMk cId="616514344" sldId="433"/>
            <ac:spMk id="63" creationId="{47884851-F9FD-AB41-FD25-28DF7A232FC6}"/>
          </ac:spMkLst>
        </pc:spChg>
        <pc:spChg chg="mod">
          <ac:chgData name="Ashwin Sunder" userId="0dc3bf7fb9413de4" providerId="LiveId" clId="{4AF140CF-3027-4683-B79B-0FBF16533509}" dt="2024-09-23T09:35:03.850" v="17988" actId="18245"/>
          <ac:spMkLst>
            <pc:docMk/>
            <pc:sldMk cId="616514344" sldId="433"/>
            <ac:spMk id="64" creationId="{F1749175-8381-5F1F-2567-D8AD4F86B314}"/>
          </ac:spMkLst>
        </pc:spChg>
        <pc:spChg chg="mod">
          <ac:chgData name="Ashwin Sunder" userId="0dc3bf7fb9413de4" providerId="LiveId" clId="{4AF140CF-3027-4683-B79B-0FBF16533509}" dt="2024-09-23T09:35:03.850" v="17988" actId="18245"/>
          <ac:spMkLst>
            <pc:docMk/>
            <pc:sldMk cId="616514344" sldId="433"/>
            <ac:spMk id="65" creationId="{51DB6BF2-894C-F850-3D1E-F001BAD97B10}"/>
          </ac:spMkLst>
        </pc:spChg>
        <pc:spChg chg="mod">
          <ac:chgData name="Ashwin Sunder" userId="0dc3bf7fb9413de4" providerId="LiveId" clId="{4AF140CF-3027-4683-B79B-0FBF16533509}" dt="2024-09-23T09:35:03.850" v="17988" actId="18245"/>
          <ac:spMkLst>
            <pc:docMk/>
            <pc:sldMk cId="616514344" sldId="433"/>
            <ac:spMk id="66" creationId="{7681E317-0872-E2E4-5258-04497B65611D}"/>
          </ac:spMkLst>
        </pc:spChg>
        <pc:spChg chg="mod">
          <ac:chgData name="Ashwin Sunder" userId="0dc3bf7fb9413de4" providerId="LiveId" clId="{4AF140CF-3027-4683-B79B-0FBF16533509}" dt="2024-09-23T09:35:03.850" v="17988" actId="18245"/>
          <ac:spMkLst>
            <pc:docMk/>
            <pc:sldMk cId="616514344" sldId="433"/>
            <ac:spMk id="67" creationId="{5A77FBF3-2C58-0E7D-FD8E-1B63D4E9732C}"/>
          </ac:spMkLst>
        </pc:spChg>
        <pc:spChg chg="mod">
          <ac:chgData name="Ashwin Sunder" userId="0dc3bf7fb9413de4" providerId="LiveId" clId="{4AF140CF-3027-4683-B79B-0FBF16533509}" dt="2024-09-23T09:35:03.850" v="17988" actId="18245"/>
          <ac:spMkLst>
            <pc:docMk/>
            <pc:sldMk cId="616514344" sldId="433"/>
            <ac:spMk id="68" creationId="{807281AD-0911-DC61-6D44-AC943F035A4E}"/>
          </ac:spMkLst>
        </pc:spChg>
        <pc:spChg chg="add mod">
          <ac:chgData name="Ashwin Sunder" userId="0dc3bf7fb9413de4" providerId="LiveId" clId="{4AF140CF-3027-4683-B79B-0FBF16533509}" dt="2024-09-23T09:36:51.063" v="18008" actId="571"/>
          <ac:spMkLst>
            <pc:docMk/>
            <pc:sldMk cId="616514344" sldId="433"/>
            <ac:spMk id="69" creationId="{0358B51F-500B-14D0-9250-70E3A145C593}"/>
          </ac:spMkLst>
        </pc:spChg>
        <pc:spChg chg="add mod">
          <ac:chgData name="Ashwin Sunder" userId="0dc3bf7fb9413de4" providerId="LiveId" clId="{4AF140CF-3027-4683-B79B-0FBF16533509}" dt="2024-09-27T09:42:31.803" v="20432" actId="1076"/>
          <ac:spMkLst>
            <pc:docMk/>
            <pc:sldMk cId="616514344" sldId="433"/>
            <ac:spMk id="69" creationId="{A4AEF788-EF44-B7A3-332C-C382F336B1F0}"/>
          </ac:spMkLst>
        </pc:spChg>
        <pc:spChg chg="add mod">
          <ac:chgData name="Ashwin Sunder" userId="0dc3bf7fb9413de4" providerId="LiveId" clId="{4AF140CF-3027-4683-B79B-0FBF16533509}" dt="2024-09-27T09:43:19.858" v="20440" actId="1076"/>
          <ac:spMkLst>
            <pc:docMk/>
            <pc:sldMk cId="616514344" sldId="433"/>
            <ac:spMk id="71" creationId="{9D9E89A3-FC1A-568E-9AAE-CDE266654F1A}"/>
          </ac:spMkLst>
        </pc:spChg>
        <pc:grpChg chg="mod">
          <ac:chgData name="Ashwin Sunder" userId="0dc3bf7fb9413de4" providerId="LiveId" clId="{4AF140CF-3027-4683-B79B-0FBF16533509}" dt="2024-09-23T09:30:20.101" v="17947" actId="18245"/>
          <ac:grpSpMkLst>
            <pc:docMk/>
            <pc:sldMk cId="616514344" sldId="433"/>
            <ac:grpSpMk id="3" creationId="{7BA6514D-7296-90F0-4D56-92F691B9A0E8}"/>
          </ac:grpSpMkLst>
        </pc:grpChg>
        <pc:grpChg chg="add del mod">
          <ac:chgData name="Ashwin Sunder" userId="0dc3bf7fb9413de4" providerId="LiveId" clId="{4AF140CF-3027-4683-B79B-0FBF16533509}" dt="2024-09-09T10:52:20.186" v="12406" actId="165"/>
          <ac:grpSpMkLst>
            <pc:docMk/>
            <pc:sldMk cId="616514344" sldId="433"/>
            <ac:grpSpMk id="5" creationId="{0C35865D-62D3-81B9-F800-BB05795E7796}"/>
          </ac:grpSpMkLst>
        </pc:grpChg>
        <pc:grpChg chg="del mod">
          <ac:chgData name="Ashwin Sunder" userId="0dc3bf7fb9413de4" providerId="LiveId" clId="{4AF140CF-3027-4683-B79B-0FBF16533509}" dt="2024-09-23T09:34:35.145" v="17987" actId="165"/>
          <ac:grpSpMkLst>
            <pc:docMk/>
            <pc:sldMk cId="616514344" sldId="433"/>
            <ac:grpSpMk id="46" creationId="{71C7DCA3-D739-6BCA-F818-DB1F58281B97}"/>
          </ac:grpSpMkLst>
        </pc:grpChg>
        <pc:grpChg chg="mod">
          <ac:chgData name="Ashwin Sunder" userId="0dc3bf7fb9413de4" providerId="LiveId" clId="{4AF140CF-3027-4683-B79B-0FBF16533509}" dt="2024-09-23T09:35:03.850" v="17988" actId="18245"/>
          <ac:grpSpMkLst>
            <pc:docMk/>
            <pc:sldMk cId="616514344" sldId="433"/>
            <ac:grpSpMk id="56" creationId="{9DD8C643-A210-0493-C699-FCC6A6900CCD}"/>
          </ac:grpSpMkLst>
        </pc:grpChg>
        <pc:graphicFrameChg chg="add del mod ord">
          <ac:chgData name="Ashwin Sunder" userId="0dc3bf7fb9413de4" providerId="LiveId" clId="{4AF140CF-3027-4683-B79B-0FBF16533509}" dt="2024-09-23T09:30:43.750" v="17948" actId="18245"/>
          <ac:graphicFrameMkLst>
            <pc:docMk/>
            <pc:sldMk cId="616514344" sldId="433"/>
            <ac:graphicFrameMk id="35" creationId="{3A79B326-4C50-6688-53D4-9BD5AB00E5DB}"/>
          </ac:graphicFrameMkLst>
        </pc:graphicFrameChg>
        <pc:graphicFrameChg chg="add del mod ord">
          <ac:chgData name="Ashwin Sunder" userId="0dc3bf7fb9413de4" providerId="LiveId" clId="{4AF140CF-3027-4683-B79B-0FBF16533509}" dt="2024-09-23T09:35:03.850" v="17988" actId="18245"/>
          <ac:graphicFrameMkLst>
            <pc:docMk/>
            <pc:sldMk cId="616514344" sldId="433"/>
            <ac:graphicFrameMk id="38" creationId="{816162DD-B06A-8CAD-DAA4-E8F0C6FDBD3F}"/>
          </ac:graphicFrameMkLst>
        </pc:graphicFrameChg>
        <pc:picChg chg="mod topLvl">
          <ac:chgData name="Ashwin Sunder" userId="0dc3bf7fb9413de4" providerId="LiveId" clId="{4AF140CF-3027-4683-B79B-0FBF16533509}" dt="2024-09-09T10:52:20.186" v="12406" actId="165"/>
          <ac:picMkLst>
            <pc:docMk/>
            <pc:sldMk cId="616514344" sldId="433"/>
            <ac:picMk id="6" creationId="{531C45BC-296E-C32C-EAE4-F6A78FF43A40}"/>
          </ac:picMkLst>
        </pc:picChg>
        <pc:picChg chg="add mod">
          <ac:chgData name="Ashwin Sunder" userId="0dc3bf7fb9413de4" providerId="LiveId" clId="{4AF140CF-3027-4683-B79B-0FBF16533509}" dt="2024-09-03T11:17:06.506" v="1609"/>
          <ac:picMkLst>
            <pc:docMk/>
            <pc:sldMk cId="616514344" sldId="433"/>
            <ac:picMk id="36" creationId="{BFD8E22B-263F-5985-CF94-0FD1480D703E}"/>
          </ac:picMkLst>
        </pc:picChg>
        <pc:picChg chg="add mod">
          <ac:chgData name="Ashwin Sunder" userId="0dc3bf7fb9413de4" providerId="LiveId" clId="{4AF140CF-3027-4683-B79B-0FBF16533509}" dt="2024-09-04T09:05:31.638" v="3567"/>
          <ac:picMkLst>
            <pc:docMk/>
            <pc:sldMk cId="616514344" sldId="433"/>
            <ac:picMk id="37" creationId="{1E8765CC-7115-9614-38D0-76783C73309B}"/>
          </ac:picMkLst>
        </pc:picChg>
        <pc:cxnChg chg="add del">
          <ac:chgData name="Ashwin Sunder" userId="0dc3bf7fb9413de4" providerId="LiveId" clId="{4AF140CF-3027-4683-B79B-0FBF16533509}" dt="2024-09-27T09:39:52.784" v="20386" actId="11529"/>
          <ac:cxnSpMkLst>
            <pc:docMk/>
            <pc:sldMk cId="616514344" sldId="433"/>
            <ac:cxnSpMk id="5" creationId="{410B82B5-C187-CE80-46EF-DD8BA6987D5D}"/>
          </ac:cxnSpMkLst>
        </pc:cxnChg>
        <pc:cxnChg chg="mod topLvl">
          <ac:chgData name="Ashwin Sunder" userId="0dc3bf7fb9413de4" providerId="LiveId" clId="{4AF140CF-3027-4683-B79B-0FBF16533509}" dt="2024-09-09T10:52:20.186" v="12406" actId="165"/>
          <ac:cxnSpMkLst>
            <pc:docMk/>
            <pc:sldMk cId="616514344" sldId="433"/>
            <ac:cxnSpMk id="7" creationId="{6E144F53-41AF-AE4B-E380-FA7C75DF91DD}"/>
          </ac:cxnSpMkLst>
        </pc:cxnChg>
        <pc:cxnChg chg="mod topLvl">
          <ac:chgData name="Ashwin Sunder" userId="0dc3bf7fb9413de4" providerId="LiveId" clId="{4AF140CF-3027-4683-B79B-0FBF16533509}" dt="2024-09-09T10:52:20.186" v="12406" actId="165"/>
          <ac:cxnSpMkLst>
            <pc:docMk/>
            <pc:sldMk cId="616514344" sldId="433"/>
            <ac:cxnSpMk id="8" creationId="{EE18A632-6B29-5F0D-818B-D7E77D0A5CE8}"/>
          </ac:cxnSpMkLst>
        </pc:cxnChg>
        <pc:cxnChg chg="mod topLvl">
          <ac:chgData name="Ashwin Sunder" userId="0dc3bf7fb9413de4" providerId="LiveId" clId="{4AF140CF-3027-4683-B79B-0FBF16533509}" dt="2024-09-09T10:52:20.186" v="12406" actId="165"/>
          <ac:cxnSpMkLst>
            <pc:docMk/>
            <pc:sldMk cId="616514344" sldId="433"/>
            <ac:cxnSpMk id="9" creationId="{697951B5-8E63-86CE-A88D-6905BE27EEA9}"/>
          </ac:cxnSpMkLst>
        </pc:cxnChg>
        <pc:cxnChg chg="mod topLvl">
          <ac:chgData name="Ashwin Sunder" userId="0dc3bf7fb9413de4" providerId="LiveId" clId="{4AF140CF-3027-4683-B79B-0FBF16533509}" dt="2024-09-09T10:52:20.186" v="12406" actId="165"/>
          <ac:cxnSpMkLst>
            <pc:docMk/>
            <pc:sldMk cId="616514344" sldId="433"/>
            <ac:cxnSpMk id="10" creationId="{F0C94CE7-F7FF-60B9-E887-9A9499D5787D}"/>
          </ac:cxnSpMkLst>
        </pc:cxnChg>
        <pc:cxnChg chg="mod topLvl">
          <ac:chgData name="Ashwin Sunder" userId="0dc3bf7fb9413de4" providerId="LiveId" clId="{4AF140CF-3027-4683-B79B-0FBF16533509}" dt="2024-09-09T10:52:20.186" v="12406" actId="165"/>
          <ac:cxnSpMkLst>
            <pc:docMk/>
            <pc:sldMk cId="616514344" sldId="433"/>
            <ac:cxnSpMk id="11" creationId="{880A5920-0219-7DE6-62DC-A3454EBE1442}"/>
          </ac:cxnSpMkLst>
        </pc:cxnChg>
        <pc:cxnChg chg="mod topLvl">
          <ac:chgData name="Ashwin Sunder" userId="0dc3bf7fb9413de4" providerId="LiveId" clId="{4AF140CF-3027-4683-B79B-0FBF16533509}" dt="2024-09-09T10:52:20.186" v="12406" actId="165"/>
          <ac:cxnSpMkLst>
            <pc:docMk/>
            <pc:sldMk cId="616514344" sldId="433"/>
            <ac:cxnSpMk id="12" creationId="{A8831EF6-A2C7-624C-E853-45C47BB353EB}"/>
          </ac:cxnSpMkLst>
        </pc:cxnChg>
        <pc:cxnChg chg="mod topLvl">
          <ac:chgData name="Ashwin Sunder" userId="0dc3bf7fb9413de4" providerId="LiveId" clId="{4AF140CF-3027-4683-B79B-0FBF16533509}" dt="2024-09-09T10:52:20.186" v="12406" actId="165"/>
          <ac:cxnSpMkLst>
            <pc:docMk/>
            <pc:sldMk cId="616514344" sldId="433"/>
            <ac:cxnSpMk id="22" creationId="{D24F5AD5-64B5-9DA5-FCAB-150C8C9CEB09}"/>
          </ac:cxnSpMkLst>
        </pc:cxnChg>
        <pc:cxnChg chg="mod topLvl">
          <ac:chgData name="Ashwin Sunder" userId="0dc3bf7fb9413de4" providerId="LiveId" clId="{4AF140CF-3027-4683-B79B-0FBF16533509}" dt="2024-09-09T10:52:20.186" v="12406" actId="165"/>
          <ac:cxnSpMkLst>
            <pc:docMk/>
            <pc:sldMk cId="616514344" sldId="433"/>
            <ac:cxnSpMk id="23" creationId="{728C856F-EDAB-224F-4D4A-61817CEF63C9}"/>
          </ac:cxnSpMkLst>
        </pc:cxnChg>
        <pc:cxnChg chg="mod topLvl">
          <ac:chgData name="Ashwin Sunder" userId="0dc3bf7fb9413de4" providerId="LiveId" clId="{4AF140CF-3027-4683-B79B-0FBF16533509}" dt="2024-09-09T10:52:20.186" v="12406" actId="165"/>
          <ac:cxnSpMkLst>
            <pc:docMk/>
            <pc:sldMk cId="616514344" sldId="433"/>
            <ac:cxnSpMk id="24" creationId="{155629AC-B6F7-752F-F988-4D89DD0A7FBE}"/>
          </ac:cxnSpMkLst>
        </pc:cxnChg>
        <pc:cxnChg chg="mod topLvl">
          <ac:chgData name="Ashwin Sunder" userId="0dc3bf7fb9413de4" providerId="LiveId" clId="{4AF140CF-3027-4683-B79B-0FBF16533509}" dt="2024-09-09T10:52:20.186" v="12406" actId="165"/>
          <ac:cxnSpMkLst>
            <pc:docMk/>
            <pc:sldMk cId="616514344" sldId="433"/>
            <ac:cxnSpMk id="25" creationId="{6160F395-F877-63C1-3AD5-1E2CEEA2918B}"/>
          </ac:cxnSpMkLst>
        </pc:cxnChg>
        <pc:cxnChg chg="mod topLvl">
          <ac:chgData name="Ashwin Sunder" userId="0dc3bf7fb9413de4" providerId="LiveId" clId="{4AF140CF-3027-4683-B79B-0FBF16533509}" dt="2024-09-09T10:52:20.186" v="12406" actId="165"/>
          <ac:cxnSpMkLst>
            <pc:docMk/>
            <pc:sldMk cId="616514344" sldId="433"/>
            <ac:cxnSpMk id="26" creationId="{E9D48218-C0CA-BCCB-CEC9-91498919355B}"/>
          </ac:cxnSpMkLst>
        </pc:cxnChg>
        <pc:cxnChg chg="mod topLvl">
          <ac:chgData name="Ashwin Sunder" userId="0dc3bf7fb9413de4" providerId="LiveId" clId="{4AF140CF-3027-4683-B79B-0FBF16533509}" dt="2024-09-09T10:52:20.186" v="12406" actId="165"/>
          <ac:cxnSpMkLst>
            <pc:docMk/>
            <pc:sldMk cId="616514344" sldId="433"/>
            <ac:cxnSpMk id="27" creationId="{A413F827-A9A8-DF99-5315-933A64EC6CA5}"/>
          </ac:cxnSpMkLst>
        </pc:cxnChg>
        <pc:cxnChg chg="mod topLvl">
          <ac:chgData name="Ashwin Sunder" userId="0dc3bf7fb9413de4" providerId="LiveId" clId="{4AF140CF-3027-4683-B79B-0FBF16533509}" dt="2024-09-09T10:52:20.186" v="12406" actId="165"/>
          <ac:cxnSpMkLst>
            <pc:docMk/>
            <pc:sldMk cId="616514344" sldId="433"/>
            <ac:cxnSpMk id="29" creationId="{909DDA06-7CF5-F04A-A0C7-AC50F1DF85D7}"/>
          </ac:cxnSpMkLst>
        </pc:cxnChg>
        <pc:cxnChg chg="mod topLvl">
          <ac:chgData name="Ashwin Sunder" userId="0dc3bf7fb9413de4" providerId="LiveId" clId="{4AF140CF-3027-4683-B79B-0FBF16533509}" dt="2024-09-09T10:52:20.186" v="12406" actId="165"/>
          <ac:cxnSpMkLst>
            <pc:docMk/>
            <pc:sldMk cId="616514344" sldId="433"/>
            <ac:cxnSpMk id="30" creationId="{3544F61D-55D3-A87C-BE99-D10712F03CCF}"/>
          </ac:cxnSpMkLst>
        </pc:cxnChg>
        <pc:cxnChg chg="mod topLvl">
          <ac:chgData name="Ashwin Sunder" userId="0dc3bf7fb9413de4" providerId="LiveId" clId="{4AF140CF-3027-4683-B79B-0FBF16533509}" dt="2024-09-09T10:52:20.186" v="12406" actId="165"/>
          <ac:cxnSpMkLst>
            <pc:docMk/>
            <pc:sldMk cId="616514344" sldId="433"/>
            <ac:cxnSpMk id="31" creationId="{A289A3EC-0DEE-2130-75EB-3ADE79346082}"/>
          </ac:cxnSpMkLst>
        </pc:cxnChg>
        <pc:cxnChg chg="add mod">
          <ac:chgData name="Ashwin Sunder" userId="0dc3bf7fb9413de4" providerId="LiveId" clId="{4AF140CF-3027-4683-B79B-0FBF16533509}" dt="2024-09-27T09:40:55.575" v="20397" actId="14100"/>
          <ac:cxnSpMkLst>
            <pc:docMk/>
            <pc:sldMk cId="616514344" sldId="433"/>
            <ac:cxnSpMk id="35" creationId="{5D492DB5-FF30-E7D9-76E0-29B6F1668ECC}"/>
          </ac:cxnSpMkLst>
        </pc:cxnChg>
        <pc:cxnChg chg="add mod">
          <ac:chgData name="Ashwin Sunder" userId="0dc3bf7fb9413de4" providerId="LiveId" clId="{4AF140CF-3027-4683-B79B-0FBF16533509}" dt="2024-09-27T09:43:42.878" v="20443" actId="14100"/>
          <ac:cxnSpMkLst>
            <pc:docMk/>
            <pc:sldMk cId="616514344" sldId="433"/>
            <ac:cxnSpMk id="39" creationId="{D3F7BA25-6FB6-A007-B07A-610EEFA6A92D}"/>
          </ac:cxnSpMkLst>
        </pc:cxnChg>
        <pc:cxnChg chg="add mod">
          <ac:chgData name="Ashwin Sunder" userId="0dc3bf7fb9413de4" providerId="LiveId" clId="{4AF140CF-3027-4683-B79B-0FBF16533509}" dt="2024-09-04T09:05:31.638" v="3567"/>
          <ac:cxnSpMkLst>
            <pc:docMk/>
            <pc:sldMk cId="616514344" sldId="433"/>
            <ac:cxnSpMk id="40" creationId="{E266A490-3F7D-DC9A-23FD-25C0FCE28D84}"/>
          </ac:cxnSpMkLst>
        </pc:cxnChg>
        <pc:cxnChg chg="add mod">
          <ac:chgData name="Ashwin Sunder" userId="0dc3bf7fb9413de4" providerId="LiveId" clId="{4AF140CF-3027-4683-B79B-0FBF16533509}" dt="2024-09-04T09:05:31.638" v="3567"/>
          <ac:cxnSpMkLst>
            <pc:docMk/>
            <pc:sldMk cId="616514344" sldId="433"/>
            <ac:cxnSpMk id="42" creationId="{68FEAB37-CABD-0CCC-6C29-BF4234679607}"/>
          </ac:cxnSpMkLst>
        </pc:cxnChg>
        <pc:cxnChg chg="add mod">
          <ac:chgData name="Ashwin Sunder" userId="0dc3bf7fb9413de4" providerId="LiveId" clId="{4AF140CF-3027-4683-B79B-0FBF16533509}" dt="2024-09-27T09:43:46.769" v="20444" actId="14100"/>
          <ac:cxnSpMkLst>
            <pc:docMk/>
            <pc:sldMk cId="616514344" sldId="433"/>
            <ac:cxnSpMk id="43" creationId="{72418871-75D1-15EE-39BB-0AB1F9CE62C3}"/>
          </ac:cxnSpMkLst>
        </pc:cxnChg>
        <pc:cxnChg chg="add mod">
          <ac:chgData name="Ashwin Sunder" userId="0dc3bf7fb9413de4" providerId="LiveId" clId="{4AF140CF-3027-4683-B79B-0FBF16533509}" dt="2024-09-27T09:41:08.759" v="20400" actId="14100"/>
          <ac:cxnSpMkLst>
            <pc:docMk/>
            <pc:sldMk cId="616514344" sldId="433"/>
            <ac:cxnSpMk id="45" creationId="{68BD3595-11DC-FF97-70B3-90AEA71A6828}"/>
          </ac:cxnSpMkLst>
        </pc:cxnChg>
        <pc:cxnChg chg="add mod">
          <ac:chgData name="Ashwin Sunder" userId="0dc3bf7fb9413de4" providerId="LiveId" clId="{4AF140CF-3027-4683-B79B-0FBF16533509}" dt="2024-09-04T09:05:31.638" v="3567"/>
          <ac:cxnSpMkLst>
            <pc:docMk/>
            <pc:sldMk cId="616514344" sldId="433"/>
            <ac:cxnSpMk id="50" creationId="{40ADD0C3-F285-B8F3-918D-52AB785ED383}"/>
          </ac:cxnSpMkLst>
        </pc:cxnChg>
        <pc:cxnChg chg="add mod">
          <ac:chgData name="Ashwin Sunder" userId="0dc3bf7fb9413de4" providerId="LiveId" clId="{4AF140CF-3027-4683-B79B-0FBF16533509}" dt="2024-09-04T09:05:31.638" v="3567"/>
          <ac:cxnSpMkLst>
            <pc:docMk/>
            <pc:sldMk cId="616514344" sldId="433"/>
            <ac:cxnSpMk id="54" creationId="{570301BB-4B27-FA44-6A2D-B0416A4662DB}"/>
          </ac:cxnSpMkLst>
        </pc:cxnChg>
        <pc:cxnChg chg="add mod">
          <ac:chgData name="Ashwin Sunder" userId="0dc3bf7fb9413de4" providerId="LiveId" clId="{4AF140CF-3027-4683-B79B-0FBF16533509}" dt="2024-09-04T09:05:31.638" v="3567"/>
          <ac:cxnSpMkLst>
            <pc:docMk/>
            <pc:sldMk cId="616514344" sldId="433"/>
            <ac:cxnSpMk id="58" creationId="{34A349AC-6BB8-C628-A8B4-82010796FD73}"/>
          </ac:cxnSpMkLst>
        </pc:cxnChg>
        <pc:cxnChg chg="add mod">
          <ac:chgData name="Ashwin Sunder" userId="0dc3bf7fb9413de4" providerId="LiveId" clId="{4AF140CF-3027-4683-B79B-0FBF16533509}" dt="2024-09-27T09:44:01.512" v="20447" actId="14100"/>
          <ac:cxnSpMkLst>
            <pc:docMk/>
            <pc:sldMk cId="616514344" sldId="433"/>
            <ac:cxnSpMk id="70" creationId="{0859D4F5-5453-D1FA-6A62-98EEF9D69CF1}"/>
          </ac:cxnSpMkLst>
        </pc:cxnChg>
      </pc:sldChg>
      <pc:sldChg chg="addSp delSp modSp add mod">
        <pc:chgData name="Ashwin Sunder" userId="0dc3bf7fb9413de4" providerId="LiveId" clId="{4AF140CF-3027-4683-B79B-0FBF16533509}" dt="2024-09-30T10:41:33.320" v="22426" actId="1076"/>
        <pc:sldMkLst>
          <pc:docMk/>
          <pc:sldMk cId="836741314" sldId="434"/>
        </pc:sldMkLst>
        <pc:spChg chg="mod">
          <ac:chgData name="Ashwin Sunder" userId="0dc3bf7fb9413de4" providerId="LiveId" clId="{4AF140CF-3027-4683-B79B-0FBF16533509}" dt="2024-09-20T08:54:46.610" v="15078" actId="20577"/>
          <ac:spMkLst>
            <pc:docMk/>
            <pc:sldMk cId="836741314" sldId="434"/>
            <ac:spMk id="2" creationId="{7538ED40-9917-A294-BEA6-82CFEB6E3517}"/>
          </ac:spMkLst>
        </pc:spChg>
        <pc:spChg chg="mod">
          <ac:chgData name="Ashwin Sunder" userId="0dc3bf7fb9413de4" providerId="LiveId" clId="{4AF140CF-3027-4683-B79B-0FBF16533509}" dt="2024-09-09T11:06:32.666" v="12446" actId="1076"/>
          <ac:spMkLst>
            <pc:docMk/>
            <pc:sldMk cId="836741314" sldId="434"/>
            <ac:spMk id="16" creationId="{2D8B4533-EFCF-B987-1E09-BE27CF4D839D}"/>
          </ac:spMkLst>
        </pc:spChg>
        <pc:graphicFrameChg chg="mod modGraphic">
          <ac:chgData name="Ashwin Sunder" userId="0dc3bf7fb9413de4" providerId="LiveId" clId="{4AF140CF-3027-4683-B79B-0FBF16533509}" dt="2024-09-20T11:56:39.848" v="17487" actId="20577"/>
          <ac:graphicFrameMkLst>
            <pc:docMk/>
            <pc:sldMk cId="836741314" sldId="434"/>
            <ac:graphicFrameMk id="6" creationId="{1D062EA0-CDCF-48DC-6C73-3A9678449E30}"/>
          </ac:graphicFrameMkLst>
        </pc:graphicFrameChg>
        <pc:graphicFrameChg chg="mod modGraphic">
          <ac:chgData name="Ashwin Sunder" userId="0dc3bf7fb9413de4" providerId="LiveId" clId="{4AF140CF-3027-4683-B79B-0FBF16533509}" dt="2024-09-20T11:56:47.271" v="17491" actId="20577"/>
          <ac:graphicFrameMkLst>
            <pc:docMk/>
            <pc:sldMk cId="836741314" sldId="434"/>
            <ac:graphicFrameMk id="8" creationId="{A22561A6-91B7-5613-CC1B-8BF3BD6C64F1}"/>
          </ac:graphicFrameMkLst>
        </pc:graphicFrameChg>
        <pc:picChg chg="add mod">
          <ac:chgData name="Ashwin Sunder" userId="0dc3bf7fb9413de4" providerId="LiveId" clId="{4AF140CF-3027-4683-B79B-0FBF16533509}" dt="2024-09-30T10:41:13.531" v="22422" actId="1076"/>
          <ac:picMkLst>
            <pc:docMk/>
            <pc:sldMk cId="836741314" sldId="434"/>
            <ac:picMk id="3" creationId="{B946D895-86C7-5CC2-7DA2-D9636DBD0D6D}"/>
          </ac:picMkLst>
        </pc:picChg>
        <pc:picChg chg="add mod">
          <ac:chgData name="Ashwin Sunder" userId="0dc3bf7fb9413de4" providerId="LiveId" clId="{4AF140CF-3027-4683-B79B-0FBF16533509}" dt="2024-09-30T10:41:33.320" v="22426" actId="1076"/>
          <ac:picMkLst>
            <pc:docMk/>
            <pc:sldMk cId="836741314" sldId="434"/>
            <ac:picMk id="5" creationId="{1B748401-1965-4FD4-7F54-0A384A498D53}"/>
          </ac:picMkLst>
        </pc:picChg>
        <pc:picChg chg="del">
          <ac:chgData name="Ashwin Sunder" userId="0dc3bf7fb9413de4" providerId="LiveId" clId="{4AF140CF-3027-4683-B79B-0FBF16533509}" dt="2024-09-30T10:41:05.455" v="22419" actId="478"/>
          <ac:picMkLst>
            <pc:docMk/>
            <pc:sldMk cId="836741314" sldId="434"/>
            <ac:picMk id="9" creationId="{765C9992-2513-0FE8-0AEC-0B2F6A6406AD}"/>
          </ac:picMkLst>
        </pc:picChg>
        <pc:picChg chg="del">
          <ac:chgData name="Ashwin Sunder" userId="0dc3bf7fb9413de4" providerId="LiveId" clId="{4AF140CF-3027-4683-B79B-0FBF16533509}" dt="2024-09-30T10:41:14.860" v="22423" actId="478"/>
          <ac:picMkLst>
            <pc:docMk/>
            <pc:sldMk cId="836741314" sldId="434"/>
            <ac:picMk id="10" creationId="{11F51599-0E96-CEAB-A4CD-6D94442836A5}"/>
          </ac:picMkLst>
        </pc:picChg>
      </pc:sldChg>
      <pc:sldChg chg="addSp delSp modSp new del mod modClrScheme chgLayout">
        <pc:chgData name="Ashwin Sunder" userId="0dc3bf7fb9413de4" providerId="LiveId" clId="{4AF140CF-3027-4683-B79B-0FBF16533509}" dt="2024-09-04T09:19:14.416" v="3570" actId="2696"/>
        <pc:sldMkLst>
          <pc:docMk/>
          <pc:sldMk cId="1223420905" sldId="434"/>
        </pc:sldMkLst>
        <pc:spChg chg="mod">
          <ac:chgData name="Ashwin Sunder" userId="0dc3bf7fb9413de4" providerId="LiveId" clId="{4AF140CF-3027-4683-B79B-0FBF16533509}" dt="2024-09-03T13:09:00.306" v="2012" actId="26606"/>
          <ac:spMkLst>
            <pc:docMk/>
            <pc:sldMk cId="1223420905" sldId="434"/>
            <ac:spMk id="2" creationId="{7538ED40-9917-A294-BEA6-82CFEB6E3517}"/>
          </ac:spMkLst>
        </pc:spChg>
        <pc:spChg chg="add del mod">
          <ac:chgData name="Ashwin Sunder" userId="0dc3bf7fb9413de4" providerId="LiveId" clId="{4AF140CF-3027-4683-B79B-0FBF16533509}" dt="2024-09-03T13:09:39.390" v="2016" actId="3680"/>
          <ac:spMkLst>
            <pc:docMk/>
            <pc:sldMk cId="1223420905" sldId="434"/>
            <ac:spMk id="3" creationId="{E7C5897A-4A67-DD85-21BB-E9BCA6DBF994}"/>
          </ac:spMkLst>
        </pc:spChg>
        <pc:spChg chg="mod">
          <ac:chgData name="Ashwin Sunder" userId="0dc3bf7fb9413de4" providerId="LiveId" clId="{4AF140CF-3027-4683-B79B-0FBF16533509}" dt="2024-09-03T13:09:00.306" v="2012" actId="26606"/>
          <ac:spMkLst>
            <pc:docMk/>
            <pc:sldMk cId="1223420905" sldId="434"/>
            <ac:spMk id="4" creationId="{C394EA77-4737-FD1E-A05D-4B2E2F5578AB}"/>
          </ac:spMkLst>
        </pc:spChg>
        <pc:spChg chg="add del mod">
          <ac:chgData name="Ashwin Sunder" userId="0dc3bf7fb9413de4" providerId="LiveId" clId="{4AF140CF-3027-4683-B79B-0FBF16533509}" dt="2024-09-03T13:27:29.464" v="2280" actId="21"/>
          <ac:spMkLst>
            <pc:docMk/>
            <pc:sldMk cId="1223420905" sldId="434"/>
            <ac:spMk id="14" creationId="{7594C149-4CB9-03D5-95A5-35FAB78206BC}"/>
          </ac:spMkLst>
        </pc:spChg>
        <pc:spChg chg="add del mod">
          <ac:chgData name="Ashwin Sunder" userId="0dc3bf7fb9413de4" providerId="LiveId" clId="{4AF140CF-3027-4683-B79B-0FBF16533509}" dt="2024-09-03T13:27:38.482" v="2282" actId="21"/>
          <ac:spMkLst>
            <pc:docMk/>
            <pc:sldMk cId="1223420905" sldId="434"/>
            <ac:spMk id="15" creationId="{7594C149-4CB9-03D5-95A5-35FAB78206BC}"/>
          </ac:spMkLst>
        </pc:spChg>
        <pc:spChg chg="add mod">
          <ac:chgData name="Ashwin Sunder" userId="0dc3bf7fb9413de4" providerId="LiveId" clId="{4AF140CF-3027-4683-B79B-0FBF16533509}" dt="2024-09-04T09:05:31.638" v="3567"/>
          <ac:spMkLst>
            <pc:docMk/>
            <pc:sldMk cId="1223420905" sldId="434"/>
            <ac:spMk id="16" creationId="{2D8B4533-EFCF-B987-1E09-BE27CF4D839D}"/>
          </ac:spMkLst>
        </pc:spChg>
        <pc:grpChg chg="add del mod">
          <ac:chgData name="Ashwin Sunder" userId="0dc3bf7fb9413de4" providerId="LiveId" clId="{4AF140CF-3027-4683-B79B-0FBF16533509}" dt="2024-09-03T13:25:08.155" v="2264" actId="165"/>
          <ac:grpSpMkLst>
            <pc:docMk/>
            <pc:sldMk cId="1223420905" sldId="434"/>
            <ac:grpSpMk id="13" creationId="{EFEC19C3-7A38-3D30-0E42-D36121F61375}"/>
          </ac:grpSpMkLst>
        </pc:grpChg>
        <pc:graphicFrameChg chg="add mod ord modGraphic">
          <ac:chgData name="Ashwin Sunder" userId="0dc3bf7fb9413de4" providerId="LiveId" clId="{4AF140CF-3027-4683-B79B-0FBF16533509}" dt="2024-09-03T13:09:03.739" v="2015"/>
          <ac:graphicFrameMkLst>
            <pc:docMk/>
            <pc:sldMk cId="1223420905" sldId="434"/>
            <ac:graphicFrameMk id="5" creationId="{5E8EF8D0-B039-5C3D-9F30-19B77F0184C1}"/>
          </ac:graphicFrameMkLst>
        </pc:graphicFrameChg>
        <pc:graphicFrameChg chg="add mod ord modGraphic">
          <ac:chgData name="Ashwin Sunder" userId="0dc3bf7fb9413de4" providerId="LiveId" clId="{4AF140CF-3027-4683-B79B-0FBF16533509}" dt="2024-09-04T09:05:31.638" v="3567"/>
          <ac:graphicFrameMkLst>
            <pc:docMk/>
            <pc:sldMk cId="1223420905" sldId="434"/>
            <ac:graphicFrameMk id="6" creationId="{1D062EA0-CDCF-48DC-6C73-3A9678449E30}"/>
          </ac:graphicFrameMkLst>
        </pc:graphicFrameChg>
        <pc:graphicFrameChg chg="add del">
          <ac:chgData name="Ashwin Sunder" userId="0dc3bf7fb9413de4" providerId="LiveId" clId="{4AF140CF-3027-4683-B79B-0FBF16533509}" dt="2024-09-03T13:15:29.954" v="2221" actId="21"/>
          <ac:graphicFrameMkLst>
            <pc:docMk/>
            <pc:sldMk cId="1223420905" sldId="434"/>
            <ac:graphicFrameMk id="7" creationId="{C07D5E11-FEE8-3FBE-2385-1A3634515CCC}"/>
          </ac:graphicFrameMkLst>
        </pc:graphicFrameChg>
        <pc:graphicFrameChg chg="add mod modGraphic">
          <ac:chgData name="Ashwin Sunder" userId="0dc3bf7fb9413de4" providerId="LiveId" clId="{4AF140CF-3027-4683-B79B-0FBF16533509}" dt="2024-09-04T09:05:31.638" v="3567"/>
          <ac:graphicFrameMkLst>
            <pc:docMk/>
            <pc:sldMk cId="1223420905" sldId="434"/>
            <ac:graphicFrameMk id="8" creationId="{A22561A6-91B7-5613-CC1B-8BF3BD6C64F1}"/>
          </ac:graphicFrameMkLst>
        </pc:graphicFrameChg>
        <pc:picChg chg="add mod topLvl">
          <ac:chgData name="Ashwin Sunder" userId="0dc3bf7fb9413de4" providerId="LiveId" clId="{4AF140CF-3027-4683-B79B-0FBF16533509}" dt="2024-09-04T09:05:31.638" v="3567"/>
          <ac:picMkLst>
            <pc:docMk/>
            <pc:sldMk cId="1223420905" sldId="434"/>
            <ac:picMk id="9" creationId="{765C9992-2513-0FE8-0AEC-0B2F6A6406AD}"/>
          </ac:picMkLst>
        </pc:picChg>
        <pc:picChg chg="add mod topLvl">
          <ac:chgData name="Ashwin Sunder" userId="0dc3bf7fb9413de4" providerId="LiveId" clId="{4AF140CF-3027-4683-B79B-0FBF16533509}" dt="2024-09-04T09:05:31.638" v="3567"/>
          <ac:picMkLst>
            <pc:docMk/>
            <pc:sldMk cId="1223420905" sldId="434"/>
            <ac:picMk id="10" creationId="{11F51599-0E96-CEAB-A4CD-6D94442836A5}"/>
          </ac:picMkLst>
        </pc:picChg>
        <pc:picChg chg="add del mod modCrop">
          <ac:chgData name="Ashwin Sunder" userId="0dc3bf7fb9413de4" providerId="LiveId" clId="{4AF140CF-3027-4683-B79B-0FBF16533509}" dt="2024-09-03T13:21:54.732" v="2257" actId="478"/>
          <ac:picMkLst>
            <pc:docMk/>
            <pc:sldMk cId="1223420905" sldId="434"/>
            <ac:picMk id="11" creationId="{AE121EAE-13A9-FC2F-D176-7572435B7A2F}"/>
          </ac:picMkLst>
        </pc:picChg>
        <pc:picChg chg="add del mod modCrop">
          <ac:chgData name="Ashwin Sunder" userId="0dc3bf7fb9413de4" providerId="LiveId" clId="{4AF140CF-3027-4683-B79B-0FBF16533509}" dt="2024-09-03T13:21:54.245" v="2256" actId="478"/>
          <ac:picMkLst>
            <pc:docMk/>
            <pc:sldMk cId="1223420905" sldId="434"/>
            <ac:picMk id="12" creationId="{0FB4C6ED-4399-5E16-57F6-80EE9E62C703}"/>
          </ac:picMkLst>
        </pc:picChg>
      </pc:sldChg>
      <pc:sldChg chg="addSp delSp modSp add mod delAnim modAnim">
        <pc:chgData name="Ashwin Sunder" userId="0dc3bf7fb9413de4" providerId="LiveId" clId="{4AF140CF-3027-4683-B79B-0FBF16533509}" dt="2024-09-30T11:03:35.562" v="23680"/>
        <pc:sldMkLst>
          <pc:docMk/>
          <pc:sldMk cId="915405872" sldId="435"/>
        </pc:sldMkLst>
        <pc:spChg chg="mod">
          <ac:chgData name="Ashwin Sunder" userId="0dc3bf7fb9413de4" providerId="LiveId" clId="{4AF140CF-3027-4683-B79B-0FBF16533509}" dt="2024-09-27T09:48:46.058" v="20459" actId="14100"/>
          <ac:spMkLst>
            <pc:docMk/>
            <pc:sldMk cId="915405872" sldId="435"/>
            <ac:spMk id="3" creationId="{06E44323-C063-5728-CF86-EAA19EC8A2F9}"/>
          </ac:spMkLst>
        </pc:spChg>
        <pc:spChg chg="mod">
          <ac:chgData name="Ashwin Sunder" userId="0dc3bf7fb9413de4" providerId="LiveId" clId="{4AF140CF-3027-4683-B79B-0FBF16533509}" dt="2024-09-27T09:48:39.452" v="20457" actId="1076"/>
          <ac:spMkLst>
            <pc:docMk/>
            <pc:sldMk cId="915405872" sldId="435"/>
            <ac:spMk id="7" creationId="{078F135A-2EBA-678B-019F-178469DEA221}"/>
          </ac:spMkLst>
        </pc:spChg>
        <pc:spChg chg="mod">
          <ac:chgData name="Ashwin Sunder" userId="0dc3bf7fb9413de4" providerId="LiveId" clId="{4AF140CF-3027-4683-B79B-0FBF16533509}" dt="2024-09-27T09:48:39.452" v="20457" actId="1076"/>
          <ac:spMkLst>
            <pc:docMk/>
            <pc:sldMk cId="915405872" sldId="435"/>
            <ac:spMk id="8" creationId="{802ED306-3959-F1B7-6C39-6934DC6F7ECB}"/>
          </ac:spMkLst>
        </pc:spChg>
        <pc:spChg chg="mod">
          <ac:chgData name="Ashwin Sunder" userId="0dc3bf7fb9413de4" providerId="LiveId" clId="{4AF140CF-3027-4683-B79B-0FBF16533509}" dt="2024-09-27T09:48:39.452" v="20457" actId="1076"/>
          <ac:spMkLst>
            <pc:docMk/>
            <pc:sldMk cId="915405872" sldId="435"/>
            <ac:spMk id="11" creationId="{C0ED7EE8-8629-9308-D5A9-9C601EB3ADB0}"/>
          </ac:spMkLst>
        </pc:spChg>
        <pc:spChg chg="mod">
          <ac:chgData name="Ashwin Sunder" userId="0dc3bf7fb9413de4" providerId="LiveId" clId="{4AF140CF-3027-4683-B79B-0FBF16533509}" dt="2024-09-27T09:48:39.452" v="20457" actId="1076"/>
          <ac:spMkLst>
            <pc:docMk/>
            <pc:sldMk cId="915405872" sldId="435"/>
            <ac:spMk id="12" creationId="{B516F969-001D-1460-A394-53AB49110063}"/>
          </ac:spMkLst>
        </pc:spChg>
        <pc:spChg chg="add del mod">
          <ac:chgData name="Ashwin Sunder" userId="0dc3bf7fb9413de4" providerId="LiveId" clId="{4AF140CF-3027-4683-B79B-0FBF16533509}" dt="2024-09-27T09:47:50.181" v="20454" actId="21"/>
          <ac:spMkLst>
            <pc:docMk/>
            <pc:sldMk cId="915405872" sldId="435"/>
            <ac:spMk id="15" creationId="{26FCEC27-32FC-CCF3-2DCC-2BF6662188B8}"/>
          </ac:spMkLst>
        </pc:spChg>
        <pc:spChg chg="add del mod">
          <ac:chgData name="Ashwin Sunder" userId="0dc3bf7fb9413de4" providerId="LiveId" clId="{4AF140CF-3027-4683-B79B-0FBF16533509}" dt="2024-09-27T09:27:59.035" v="20326" actId="21"/>
          <ac:spMkLst>
            <pc:docMk/>
            <pc:sldMk cId="915405872" sldId="435"/>
            <ac:spMk id="16" creationId="{B18D47F7-73EF-DE63-6A99-D4048BD19F5D}"/>
          </ac:spMkLst>
        </pc:spChg>
        <pc:spChg chg="add del mod">
          <ac:chgData name="Ashwin Sunder" userId="0dc3bf7fb9413de4" providerId="LiveId" clId="{4AF140CF-3027-4683-B79B-0FBF16533509}" dt="2024-09-27T09:27:59.035" v="20326" actId="21"/>
          <ac:spMkLst>
            <pc:docMk/>
            <pc:sldMk cId="915405872" sldId="435"/>
            <ac:spMk id="17" creationId="{CFF6B04D-D466-6F6F-E1C6-3589E2DD1BCF}"/>
          </ac:spMkLst>
        </pc:spChg>
        <pc:spChg chg="add del">
          <ac:chgData name="Ashwin Sunder" userId="0dc3bf7fb9413de4" providerId="LiveId" clId="{4AF140CF-3027-4683-B79B-0FBF16533509}" dt="2024-09-27T09:13:19.416" v="20138" actId="22"/>
          <ac:spMkLst>
            <pc:docMk/>
            <pc:sldMk cId="915405872" sldId="435"/>
            <ac:spMk id="19" creationId="{69B16D04-C7B9-02E5-E059-D296D920A729}"/>
          </ac:spMkLst>
        </pc:spChg>
        <pc:spChg chg="add del mod">
          <ac:chgData name="Ashwin Sunder" userId="0dc3bf7fb9413de4" providerId="LiveId" clId="{4AF140CF-3027-4683-B79B-0FBF16533509}" dt="2024-09-27T09:27:52.674" v="20325" actId="478"/>
          <ac:spMkLst>
            <pc:docMk/>
            <pc:sldMk cId="915405872" sldId="435"/>
            <ac:spMk id="21" creationId="{4F0CDF81-00F9-90D2-3F51-88D040E8873D}"/>
          </ac:spMkLst>
        </pc:spChg>
        <pc:graphicFrameChg chg="mod modGraphic">
          <ac:chgData name="Ashwin Sunder" userId="0dc3bf7fb9413de4" providerId="LiveId" clId="{4AF140CF-3027-4683-B79B-0FBF16533509}" dt="2024-09-30T11:03:11.602" v="23674" actId="1076"/>
          <ac:graphicFrameMkLst>
            <pc:docMk/>
            <pc:sldMk cId="915405872" sldId="435"/>
            <ac:graphicFrameMk id="13" creationId="{F23FE761-8E2E-8B2D-0088-E8A6B60216C4}"/>
          </ac:graphicFrameMkLst>
        </pc:graphicFrameChg>
        <pc:graphicFrameChg chg="add mod modGraphic">
          <ac:chgData name="Ashwin Sunder" userId="0dc3bf7fb9413de4" providerId="LiveId" clId="{4AF140CF-3027-4683-B79B-0FBF16533509}" dt="2024-09-30T11:03:11.602" v="23674" actId="1076"/>
          <ac:graphicFrameMkLst>
            <pc:docMk/>
            <pc:sldMk cId="915405872" sldId="435"/>
            <ac:graphicFrameMk id="14" creationId="{889811FA-74EA-3C3B-A54C-7E587C2BFEE2}"/>
          </ac:graphicFrameMkLst>
        </pc:graphicFrameChg>
        <pc:picChg chg="mod">
          <ac:chgData name="Ashwin Sunder" userId="0dc3bf7fb9413de4" providerId="LiveId" clId="{4AF140CF-3027-4683-B79B-0FBF16533509}" dt="2024-09-27T09:48:39.452" v="20457" actId="1076"/>
          <ac:picMkLst>
            <pc:docMk/>
            <pc:sldMk cId="915405872" sldId="435"/>
            <ac:picMk id="5" creationId="{018EF33F-9989-1151-71D5-6C9AFA5520BD}"/>
          </ac:picMkLst>
        </pc:picChg>
        <pc:picChg chg="mod">
          <ac:chgData name="Ashwin Sunder" userId="0dc3bf7fb9413de4" providerId="LiveId" clId="{4AF140CF-3027-4683-B79B-0FBF16533509}" dt="2024-09-27T09:48:39.452" v="20457" actId="1076"/>
          <ac:picMkLst>
            <pc:docMk/>
            <pc:sldMk cId="915405872" sldId="435"/>
            <ac:picMk id="6" creationId="{E375E6A8-B81D-6631-4FBA-075EF968740E}"/>
          </ac:picMkLst>
        </pc:picChg>
        <pc:picChg chg="mod">
          <ac:chgData name="Ashwin Sunder" userId="0dc3bf7fb9413de4" providerId="LiveId" clId="{4AF140CF-3027-4683-B79B-0FBF16533509}" dt="2024-09-27T09:48:39.452" v="20457" actId="1076"/>
          <ac:picMkLst>
            <pc:docMk/>
            <pc:sldMk cId="915405872" sldId="435"/>
            <ac:picMk id="9" creationId="{5BC1B1C1-D4E2-BB89-011C-55AE6CDC9F5F}"/>
          </ac:picMkLst>
        </pc:picChg>
        <pc:picChg chg="mod">
          <ac:chgData name="Ashwin Sunder" userId="0dc3bf7fb9413de4" providerId="LiveId" clId="{4AF140CF-3027-4683-B79B-0FBF16533509}" dt="2024-09-27T09:48:39.452" v="20457" actId="1076"/>
          <ac:picMkLst>
            <pc:docMk/>
            <pc:sldMk cId="915405872" sldId="435"/>
            <ac:picMk id="10" creationId="{1AB5CC39-E2DD-1561-2677-4E78A51929C8}"/>
          </ac:picMkLst>
        </pc:picChg>
        <pc:picChg chg="add mod">
          <ac:chgData name="Ashwin Sunder" userId="0dc3bf7fb9413de4" providerId="LiveId" clId="{4AF140CF-3027-4683-B79B-0FBF16533509}" dt="2024-09-30T11:03:16.628" v="23676" actId="14100"/>
          <ac:picMkLst>
            <pc:docMk/>
            <pc:sldMk cId="915405872" sldId="435"/>
            <ac:picMk id="15" creationId="{A10AB3B7-E9E3-06BA-15B2-2E0FDD755CA8}"/>
          </ac:picMkLst>
        </pc:picChg>
      </pc:sldChg>
      <pc:sldChg chg="addSp modSp new del mod">
        <pc:chgData name="Ashwin Sunder" userId="0dc3bf7fb9413de4" providerId="LiveId" clId="{4AF140CF-3027-4683-B79B-0FBF16533509}" dt="2024-09-04T09:19:14.416" v="3570" actId="2696"/>
        <pc:sldMkLst>
          <pc:docMk/>
          <pc:sldMk cId="2733210039" sldId="435"/>
        </pc:sldMkLst>
        <pc:spChg chg="mod">
          <ac:chgData name="Ashwin Sunder" userId="0dc3bf7fb9413de4" providerId="LiveId" clId="{4AF140CF-3027-4683-B79B-0FBF16533509}" dt="2024-09-04T08:07:36.076" v="2889" actId="20577"/>
          <ac:spMkLst>
            <pc:docMk/>
            <pc:sldMk cId="2733210039" sldId="435"/>
            <ac:spMk id="2" creationId="{D13B723C-3764-7DE6-76BB-D5AAF2AC508A}"/>
          </ac:spMkLst>
        </pc:spChg>
        <pc:spChg chg="mod">
          <ac:chgData name="Ashwin Sunder" userId="0dc3bf7fb9413de4" providerId="LiveId" clId="{4AF140CF-3027-4683-B79B-0FBF16533509}" dt="2024-09-04T08:46:54.503" v="3561" actId="15"/>
          <ac:spMkLst>
            <pc:docMk/>
            <pc:sldMk cId="2733210039" sldId="435"/>
            <ac:spMk id="3" creationId="{06E44323-C063-5728-CF86-EAA19EC8A2F9}"/>
          </ac:spMkLst>
        </pc:spChg>
        <pc:spChg chg="mod">
          <ac:chgData name="Ashwin Sunder" userId="0dc3bf7fb9413de4" providerId="LiveId" clId="{4AF140CF-3027-4683-B79B-0FBF16533509}" dt="2024-09-04T08:07:44.219" v="2921" actId="20577"/>
          <ac:spMkLst>
            <pc:docMk/>
            <pc:sldMk cId="2733210039" sldId="435"/>
            <ac:spMk id="4" creationId="{B74C0AA2-CC8F-5394-F1E0-C28A0E525C7E}"/>
          </ac:spMkLst>
        </pc:spChg>
        <pc:spChg chg="add mod">
          <ac:chgData name="Ashwin Sunder" userId="0dc3bf7fb9413de4" providerId="LiveId" clId="{4AF140CF-3027-4683-B79B-0FBF16533509}" dt="2024-09-04T09:05:31.638" v="3567"/>
          <ac:spMkLst>
            <pc:docMk/>
            <pc:sldMk cId="2733210039" sldId="435"/>
            <ac:spMk id="7" creationId="{078F135A-2EBA-678B-019F-178469DEA221}"/>
          </ac:spMkLst>
        </pc:spChg>
        <pc:spChg chg="add mod">
          <ac:chgData name="Ashwin Sunder" userId="0dc3bf7fb9413de4" providerId="LiveId" clId="{4AF140CF-3027-4683-B79B-0FBF16533509}" dt="2024-09-04T09:05:31.638" v="3567"/>
          <ac:spMkLst>
            <pc:docMk/>
            <pc:sldMk cId="2733210039" sldId="435"/>
            <ac:spMk id="8" creationId="{802ED306-3959-F1B7-6C39-6934DC6F7ECB}"/>
          </ac:spMkLst>
        </pc:spChg>
        <pc:spChg chg="add mod">
          <ac:chgData name="Ashwin Sunder" userId="0dc3bf7fb9413de4" providerId="LiveId" clId="{4AF140CF-3027-4683-B79B-0FBF16533509}" dt="2024-09-04T09:05:31.638" v="3567"/>
          <ac:spMkLst>
            <pc:docMk/>
            <pc:sldMk cId="2733210039" sldId="435"/>
            <ac:spMk id="11" creationId="{C0ED7EE8-8629-9308-D5A9-9C601EB3ADB0}"/>
          </ac:spMkLst>
        </pc:spChg>
        <pc:spChg chg="add mod">
          <ac:chgData name="Ashwin Sunder" userId="0dc3bf7fb9413de4" providerId="LiveId" clId="{4AF140CF-3027-4683-B79B-0FBF16533509}" dt="2024-09-04T09:05:31.638" v="3567"/>
          <ac:spMkLst>
            <pc:docMk/>
            <pc:sldMk cId="2733210039" sldId="435"/>
            <ac:spMk id="12" creationId="{B516F969-001D-1460-A394-53AB49110063}"/>
          </ac:spMkLst>
        </pc:spChg>
        <pc:graphicFrameChg chg="add mod modGraphic">
          <ac:chgData name="Ashwin Sunder" userId="0dc3bf7fb9413de4" providerId="LiveId" clId="{4AF140CF-3027-4683-B79B-0FBF16533509}" dt="2024-09-04T09:05:31.638" v="3567"/>
          <ac:graphicFrameMkLst>
            <pc:docMk/>
            <pc:sldMk cId="2733210039" sldId="435"/>
            <ac:graphicFrameMk id="13" creationId="{F23FE761-8E2E-8B2D-0088-E8A6B60216C4}"/>
          </ac:graphicFrameMkLst>
        </pc:graphicFrameChg>
        <pc:picChg chg="add mod modCrop">
          <ac:chgData name="Ashwin Sunder" userId="0dc3bf7fb9413de4" providerId="LiveId" clId="{4AF140CF-3027-4683-B79B-0FBF16533509}" dt="2024-09-04T09:05:31.638" v="3567"/>
          <ac:picMkLst>
            <pc:docMk/>
            <pc:sldMk cId="2733210039" sldId="435"/>
            <ac:picMk id="5" creationId="{018EF33F-9989-1151-71D5-6C9AFA5520BD}"/>
          </ac:picMkLst>
        </pc:picChg>
        <pc:picChg chg="add mod">
          <ac:chgData name="Ashwin Sunder" userId="0dc3bf7fb9413de4" providerId="LiveId" clId="{4AF140CF-3027-4683-B79B-0FBF16533509}" dt="2024-09-04T09:05:31.638" v="3567"/>
          <ac:picMkLst>
            <pc:docMk/>
            <pc:sldMk cId="2733210039" sldId="435"/>
            <ac:picMk id="6" creationId="{E375E6A8-B81D-6631-4FBA-075EF968740E}"/>
          </ac:picMkLst>
        </pc:picChg>
        <pc:picChg chg="add mod">
          <ac:chgData name="Ashwin Sunder" userId="0dc3bf7fb9413de4" providerId="LiveId" clId="{4AF140CF-3027-4683-B79B-0FBF16533509}" dt="2024-09-04T09:05:31.638" v="3567"/>
          <ac:picMkLst>
            <pc:docMk/>
            <pc:sldMk cId="2733210039" sldId="435"/>
            <ac:picMk id="9" creationId="{5BC1B1C1-D4E2-BB89-011C-55AE6CDC9F5F}"/>
          </ac:picMkLst>
        </pc:picChg>
        <pc:picChg chg="add mod">
          <ac:chgData name="Ashwin Sunder" userId="0dc3bf7fb9413de4" providerId="LiveId" clId="{4AF140CF-3027-4683-B79B-0FBF16533509}" dt="2024-09-04T09:05:31.638" v="3567"/>
          <ac:picMkLst>
            <pc:docMk/>
            <pc:sldMk cId="2733210039" sldId="435"/>
            <ac:picMk id="10" creationId="{1AB5CC39-E2DD-1561-2677-4E78A51929C8}"/>
          </ac:picMkLst>
        </pc:picChg>
      </pc:sldChg>
      <pc:sldChg chg="add">
        <pc:chgData name="Ashwin Sunder" userId="0dc3bf7fb9413de4" providerId="LiveId" clId="{4AF140CF-3027-4683-B79B-0FBF16533509}" dt="2024-09-25T15:18:35.045" v="19974"/>
        <pc:sldMkLst>
          <pc:docMk/>
          <pc:sldMk cId="1445060123" sldId="436"/>
        </pc:sldMkLst>
      </pc:sldChg>
      <pc:sldChg chg="delSp modSp new del mod modAnim">
        <pc:chgData name="Ashwin Sunder" userId="0dc3bf7fb9413de4" providerId="LiveId" clId="{4AF140CF-3027-4683-B79B-0FBF16533509}" dt="2024-09-25T15:18:29.978" v="19973" actId="2696"/>
        <pc:sldMkLst>
          <pc:docMk/>
          <pc:sldMk cId="1923661156" sldId="436"/>
        </pc:sldMkLst>
        <pc:spChg chg="mod">
          <ac:chgData name="Ashwin Sunder" userId="0dc3bf7fb9413de4" providerId="LiveId" clId="{4AF140CF-3027-4683-B79B-0FBF16533509}" dt="2024-09-04T09:21:18.823" v="3592" actId="1076"/>
          <ac:spMkLst>
            <pc:docMk/>
            <pc:sldMk cId="1923661156" sldId="436"/>
            <ac:spMk id="2" creationId="{06B7A04F-36A4-8176-C34F-08ED6BF46F44}"/>
          </ac:spMkLst>
        </pc:spChg>
        <pc:spChg chg="mod">
          <ac:chgData name="Ashwin Sunder" userId="0dc3bf7fb9413de4" providerId="LiveId" clId="{4AF140CF-3027-4683-B79B-0FBF16533509}" dt="2024-09-24T08:45:08.685" v="19172" actId="20577"/>
          <ac:spMkLst>
            <pc:docMk/>
            <pc:sldMk cId="1923661156" sldId="436"/>
            <ac:spMk id="3" creationId="{862C3BFA-8D9F-43F5-21D5-6F2867CCA18F}"/>
          </ac:spMkLst>
        </pc:spChg>
        <pc:spChg chg="del">
          <ac:chgData name="Ashwin Sunder" userId="0dc3bf7fb9413de4" providerId="LiveId" clId="{4AF140CF-3027-4683-B79B-0FBF16533509}" dt="2024-09-04T09:21:13.822" v="3591" actId="21"/>
          <ac:spMkLst>
            <pc:docMk/>
            <pc:sldMk cId="1923661156" sldId="436"/>
            <ac:spMk id="4" creationId="{F18D71D8-F495-D399-09A7-6C56253F45E0}"/>
          </ac:spMkLst>
        </pc:spChg>
      </pc:sldChg>
      <pc:sldChg chg="addSp delSp modSp add mod">
        <pc:chgData name="Ashwin Sunder" userId="0dc3bf7fb9413de4" providerId="LiveId" clId="{4AF140CF-3027-4683-B79B-0FBF16533509}" dt="2024-09-29T13:13:21.601" v="22292" actId="113"/>
        <pc:sldMkLst>
          <pc:docMk/>
          <pc:sldMk cId="2764935217" sldId="437"/>
        </pc:sldMkLst>
        <pc:spChg chg="mod">
          <ac:chgData name="Ashwin Sunder" userId="0dc3bf7fb9413de4" providerId="LiveId" clId="{4AF140CF-3027-4683-B79B-0FBF16533509}" dt="2024-09-04T10:56:07.365" v="5206" actId="20577"/>
          <ac:spMkLst>
            <pc:docMk/>
            <pc:sldMk cId="2764935217" sldId="437"/>
            <ac:spMk id="2" creationId="{7538ED40-9917-A294-BEA6-82CFEB6E3517}"/>
          </ac:spMkLst>
        </pc:spChg>
        <pc:spChg chg="mod">
          <ac:chgData name="Ashwin Sunder" userId="0dc3bf7fb9413de4" providerId="LiveId" clId="{4AF140CF-3027-4683-B79B-0FBF16533509}" dt="2024-09-04T11:13:16.984" v="5466" actId="20577"/>
          <ac:spMkLst>
            <pc:docMk/>
            <pc:sldMk cId="2764935217" sldId="437"/>
            <ac:spMk id="4" creationId="{C394EA77-4737-FD1E-A05D-4B2E2F5578AB}"/>
          </ac:spMkLst>
        </pc:spChg>
        <pc:spChg chg="add mod">
          <ac:chgData name="Ashwin Sunder" userId="0dc3bf7fb9413de4" providerId="LiveId" clId="{4AF140CF-3027-4683-B79B-0FBF16533509}" dt="2024-09-27T09:55:32.716" v="20507" actId="1076"/>
          <ac:spMkLst>
            <pc:docMk/>
            <pc:sldMk cId="2764935217" sldId="437"/>
            <ac:spMk id="7" creationId="{3379DEE7-FB57-C60C-A33B-27D15882E962}"/>
          </ac:spMkLst>
        </pc:spChg>
        <pc:spChg chg="add mod">
          <ac:chgData name="Ashwin Sunder" userId="0dc3bf7fb9413de4" providerId="LiveId" clId="{4AF140CF-3027-4683-B79B-0FBF16533509}" dt="2024-09-27T09:55:36.139" v="20508" actId="1076"/>
          <ac:spMkLst>
            <pc:docMk/>
            <pc:sldMk cId="2764935217" sldId="437"/>
            <ac:spMk id="11" creationId="{2B6D0ABC-8DF9-F368-9A21-506E62BC29C1}"/>
          </ac:spMkLst>
        </pc:spChg>
        <pc:spChg chg="add del mod">
          <ac:chgData name="Ashwin Sunder" userId="0dc3bf7fb9413de4" providerId="LiveId" clId="{4AF140CF-3027-4683-B79B-0FBF16533509}" dt="2024-09-04T11:49:07.043" v="6397" actId="21"/>
          <ac:spMkLst>
            <pc:docMk/>
            <pc:sldMk cId="2764935217" sldId="437"/>
            <ac:spMk id="13" creationId="{A209FB7F-6DA6-5D2A-D9A5-F176CA0DD6A9}"/>
          </ac:spMkLst>
        </pc:spChg>
        <pc:spChg chg="mod">
          <ac:chgData name="Ashwin Sunder" userId="0dc3bf7fb9413de4" providerId="LiveId" clId="{4AF140CF-3027-4683-B79B-0FBF16533509}" dt="2024-09-29T13:13:21.601" v="22292" actId="113"/>
          <ac:spMkLst>
            <pc:docMk/>
            <pc:sldMk cId="2764935217" sldId="437"/>
            <ac:spMk id="16" creationId="{2D8B4533-EFCF-B987-1E09-BE27CF4D839D}"/>
          </ac:spMkLst>
        </pc:spChg>
        <pc:graphicFrameChg chg="del mod modGraphic">
          <ac:chgData name="Ashwin Sunder" userId="0dc3bf7fb9413de4" providerId="LiveId" clId="{4AF140CF-3027-4683-B79B-0FBF16533509}" dt="2024-09-04T11:48:53.663" v="6396" actId="478"/>
          <ac:graphicFrameMkLst>
            <pc:docMk/>
            <pc:sldMk cId="2764935217" sldId="437"/>
            <ac:graphicFrameMk id="6" creationId="{1D062EA0-CDCF-48DC-6C73-3A9678449E30}"/>
          </ac:graphicFrameMkLst>
        </pc:graphicFrameChg>
        <pc:graphicFrameChg chg="del mod modGraphic">
          <ac:chgData name="Ashwin Sunder" userId="0dc3bf7fb9413de4" providerId="LiveId" clId="{4AF140CF-3027-4683-B79B-0FBF16533509}" dt="2024-09-04T11:30:11.827" v="5731" actId="21"/>
          <ac:graphicFrameMkLst>
            <pc:docMk/>
            <pc:sldMk cId="2764935217" sldId="437"/>
            <ac:graphicFrameMk id="8" creationId="{A22561A6-91B7-5613-CC1B-8BF3BD6C64F1}"/>
          </ac:graphicFrameMkLst>
        </pc:graphicFrameChg>
        <pc:picChg chg="add del mod">
          <ac:chgData name="Ashwin Sunder" userId="0dc3bf7fb9413de4" providerId="LiveId" clId="{4AF140CF-3027-4683-B79B-0FBF16533509}" dt="2024-09-23T09:45:44.128" v="18069" actId="478"/>
          <ac:picMkLst>
            <pc:docMk/>
            <pc:sldMk cId="2764935217" sldId="437"/>
            <ac:picMk id="3" creationId="{11B1B615-C00F-DA0E-5CA4-3EB3A661EA0D}"/>
          </ac:picMkLst>
        </pc:picChg>
        <pc:picChg chg="add del mod">
          <ac:chgData name="Ashwin Sunder" userId="0dc3bf7fb9413de4" providerId="LiveId" clId="{4AF140CF-3027-4683-B79B-0FBF16533509}" dt="2024-09-23T09:47:15.963" v="18079" actId="478"/>
          <ac:picMkLst>
            <pc:docMk/>
            <pc:sldMk cId="2764935217" sldId="437"/>
            <ac:picMk id="5" creationId="{4579F491-1519-1C9C-5F41-4C4DCA88FD50}"/>
          </ac:picMkLst>
        </pc:picChg>
        <pc:picChg chg="add mod modCrop">
          <ac:chgData name="Ashwin Sunder" userId="0dc3bf7fb9413de4" providerId="LiveId" clId="{4AF140CF-3027-4683-B79B-0FBF16533509}" dt="2024-09-27T09:55:22.860" v="20505" actId="1076"/>
          <ac:picMkLst>
            <pc:docMk/>
            <pc:sldMk cId="2764935217" sldId="437"/>
            <ac:picMk id="8" creationId="{BF8B6563-9187-6608-1AC5-9B66C04F5E83}"/>
          </ac:picMkLst>
        </pc:picChg>
        <pc:picChg chg="del">
          <ac:chgData name="Ashwin Sunder" userId="0dc3bf7fb9413de4" providerId="LiveId" clId="{4AF140CF-3027-4683-B79B-0FBF16533509}" dt="2024-09-04T11:16:31.294" v="5503" actId="478"/>
          <ac:picMkLst>
            <pc:docMk/>
            <pc:sldMk cId="2764935217" sldId="437"/>
            <ac:picMk id="9" creationId="{765C9992-2513-0FE8-0AEC-0B2F6A6406AD}"/>
          </ac:picMkLst>
        </pc:picChg>
        <pc:picChg chg="del">
          <ac:chgData name="Ashwin Sunder" userId="0dc3bf7fb9413de4" providerId="LiveId" clId="{4AF140CF-3027-4683-B79B-0FBF16533509}" dt="2024-09-04T11:19:12.870" v="5511" actId="478"/>
          <ac:picMkLst>
            <pc:docMk/>
            <pc:sldMk cId="2764935217" sldId="437"/>
            <ac:picMk id="10" creationId="{11F51599-0E96-CEAB-A4CD-6D94442836A5}"/>
          </ac:picMkLst>
        </pc:picChg>
        <pc:picChg chg="add mod modCrop">
          <ac:chgData name="Ashwin Sunder" userId="0dc3bf7fb9413de4" providerId="LiveId" clId="{4AF140CF-3027-4683-B79B-0FBF16533509}" dt="2024-09-27T09:55:25.608" v="20506" actId="1076"/>
          <ac:picMkLst>
            <pc:docMk/>
            <pc:sldMk cId="2764935217" sldId="437"/>
            <ac:picMk id="10" creationId="{4208F9AC-BA22-4F67-AE63-3491EB5C7241}"/>
          </ac:picMkLst>
        </pc:picChg>
      </pc:sldChg>
      <pc:sldChg chg="addSp delSp modSp new del mod">
        <pc:chgData name="Ashwin Sunder" userId="0dc3bf7fb9413de4" providerId="LiveId" clId="{4AF140CF-3027-4683-B79B-0FBF16533509}" dt="2024-09-04T11:00:27.954" v="5316" actId="2696"/>
        <pc:sldMkLst>
          <pc:docMk/>
          <pc:sldMk cId="1552831611" sldId="438"/>
        </pc:sldMkLst>
        <pc:spChg chg="mod">
          <ac:chgData name="Ashwin Sunder" userId="0dc3bf7fb9413de4" providerId="LiveId" clId="{4AF140CF-3027-4683-B79B-0FBF16533509}" dt="2024-09-04T10:56:24.562" v="5248" actId="20577"/>
          <ac:spMkLst>
            <pc:docMk/>
            <pc:sldMk cId="1552831611" sldId="438"/>
            <ac:spMk id="2" creationId="{E862EB3A-733F-5544-E0D8-A48014BC3665}"/>
          </ac:spMkLst>
        </pc:spChg>
        <pc:spChg chg="add del">
          <ac:chgData name="Ashwin Sunder" userId="0dc3bf7fb9413de4" providerId="LiveId" clId="{4AF140CF-3027-4683-B79B-0FBF16533509}" dt="2024-09-04T11:00:09.704" v="5314"/>
          <ac:spMkLst>
            <pc:docMk/>
            <pc:sldMk cId="1552831611" sldId="438"/>
            <ac:spMk id="3" creationId="{77EFC533-272E-BAB8-9EAD-EDF0196288DC}"/>
          </ac:spMkLst>
        </pc:spChg>
        <pc:spChg chg="mod">
          <ac:chgData name="Ashwin Sunder" userId="0dc3bf7fb9413de4" providerId="LiveId" clId="{4AF140CF-3027-4683-B79B-0FBF16533509}" dt="2024-09-04T10:56:29.824" v="5265" actId="20577"/>
          <ac:spMkLst>
            <pc:docMk/>
            <pc:sldMk cId="1552831611" sldId="438"/>
            <ac:spMk id="4" creationId="{36A29452-1B6A-AC00-8107-DAE1D95FA40D}"/>
          </ac:spMkLst>
        </pc:spChg>
        <pc:graphicFrameChg chg="add mod">
          <ac:chgData name="Ashwin Sunder" userId="0dc3bf7fb9413de4" providerId="LiveId" clId="{4AF140CF-3027-4683-B79B-0FBF16533509}" dt="2024-09-04T11:00:05.253" v="5313"/>
          <ac:graphicFrameMkLst>
            <pc:docMk/>
            <pc:sldMk cId="1552831611" sldId="438"/>
            <ac:graphicFrameMk id="5" creationId="{01454EF9-5BE5-D9C9-1ECA-2EF20A59705B}"/>
          </ac:graphicFrameMkLst>
        </pc:graphicFrameChg>
        <pc:graphicFrameChg chg="add mod">
          <ac:chgData name="Ashwin Sunder" userId="0dc3bf7fb9413de4" providerId="LiveId" clId="{4AF140CF-3027-4683-B79B-0FBF16533509}" dt="2024-09-04T11:00:09.704" v="5314"/>
          <ac:graphicFrameMkLst>
            <pc:docMk/>
            <pc:sldMk cId="1552831611" sldId="438"/>
            <ac:graphicFrameMk id="6" creationId="{B94648D4-0C4E-9AF2-3483-07DF1B5D9A1E}"/>
          </ac:graphicFrameMkLst>
        </pc:graphicFrameChg>
      </pc:sldChg>
      <pc:sldChg chg="add">
        <pc:chgData name="Ashwin Sunder" userId="0dc3bf7fb9413de4" providerId="LiveId" clId="{4AF140CF-3027-4683-B79B-0FBF16533509}" dt="2024-09-27T09:47:41.658" v="20451"/>
        <pc:sldMkLst>
          <pc:docMk/>
          <pc:sldMk cId="316519658" sldId="439"/>
        </pc:sldMkLst>
      </pc:sldChg>
      <pc:sldChg chg="addSp delSp modSp add del mod">
        <pc:chgData name="Ashwin Sunder" userId="0dc3bf7fb9413de4" providerId="LiveId" clId="{4AF140CF-3027-4683-B79B-0FBF16533509}" dt="2024-09-27T09:47:34.974" v="20450" actId="2696"/>
        <pc:sldMkLst>
          <pc:docMk/>
          <pc:sldMk cId="1794206841" sldId="439"/>
        </pc:sldMkLst>
        <pc:spChg chg="mod">
          <ac:chgData name="Ashwin Sunder" userId="0dc3bf7fb9413de4" providerId="LiveId" clId="{4AF140CF-3027-4683-B79B-0FBF16533509}" dt="2024-09-04T11:01:52.693" v="5348" actId="20577"/>
          <ac:spMkLst>
            <pc:docMk/>
            <pc:sldMk cId="1794206841" sldId="439"/>
            <ac:spMk id="4" creationId="{C394EA77-4737-FD1E-A05D-4B2E2F5578AB}"/>
          </ac:spMkLst>
        </pc:spChg>
        <pc:spChg chg="add mod">
          <ac:chgData name="Ashwin Sunder" userId="0dc3bf7fb9413de4" providerId="LiveId" clId="{4AF140CF-3027-4683-B79B-0FBF16533509}" dt="2024-09-04T11:48:16.742" v="6390"/>
          <ac:spMkLst>
            <pc:docMk/>
            <pc:sldMk cId="1794206841" sldId="439"/>
            <ac:spMk id="12" creationId="{4BE27B85-8847-7EF0-0B99-FD1C593CFBB1}"/>
          </ac:spMkLst>
        </pc:spChg>
        <pc:spChg chg="del">
          <ac:chgData name="Ashwin Sunder" userId="0dc3bf7fb9413de4" providerId="LiveId" clId="{4AF140CF-3027-4683-B79B-0FBF16533509}" dt="2024-09-04T11:04:36.314" v="5364" actId="478"/>
          <ac:spMkLst>
            <pc:docMk/>
            <pc:sldMk cId="1794206841" sldId="439"/>
            <ac:spMk id="16" creationId="{2D8B4533-EFCF-B987-1E09-BE27CF4D839D}"/>
          </ac:spMkLst>
        </pc:spChg>
        <pc:graphicFrameChg chg="add mod modGraphic">
          <ac:chgData name="Ashwin Sunder" userId="0dc3bf7fb9413de4" providerId="LiveId" clId="{4AF140CF-3027-4683-B79B-0FBF16533509}" dt="2024-09-06T07:58:58.087" v="7119" actId="1076"/>
          <ac:graphicFrameMkLst>
            <pc:docMk/>
            <pc:sldMk cId="1794206841" sldId="439"/>
            <ac:graphicFrameMk id="3" creationId="{59C44DD7-90E7-032D-1782-73777BDBC76E}"/>
          </ac:graphicFrameMkLst>
        </pc:graphicFrameChg>
        <pc:graphicFrameChg chg="add mod modGraphic">
          <ac:chgData name="Ashwin Sunder" userId="0dc3bf7fb9413de4" providerId="LiveId" clId="{4AF140CF-3027-4683-B79B-0FBF16533509}" dt="2024-09-23T10:17:00.245" v="18319" actId="1076"/>
          <ac:graphicFrameMkLst>
            <pc:docMk/>
            <pc:sldMk cId="1794206841" sldId="439"/>
            <ac:graphicFrameMk id="5" creationId="{BEC95736-68F9-86F5-81A5-CC83ADB16DE8}"/>
          </ac:graphicFrameMkLst>
        </pc:graphicFrameChg>
        <pc:graphicFrameChg chg="mod modGraphic">
          <ac:chgData name="Ashwin Sunder" userId="0dc3bf7fb9413de4" providerId="LiveId" clId="{4AF140CF-3027-4683-B79B-0FBF16533509}" dt="2024-09-23T10:17:00.465" v="18320" actId="1076"/>
          <ac:graphicFrameMkLst>
            <pc:docMk/>
            <pc:sldMk cId="1794206841" sldId="439"/>
            <ac:graphicFrameMk id="6" creationId="{1D062EA0-CDCF-48DC-6C73-3A9678449E30}"/>
          </ac:graphicFrameMkLst>
        </pc:graphicFrameChg>
        <pc:graphicFrameChg chg="del modGraphic">
          <ac:chgData name="Ashwin Sunder" userId="0dc3bf7fb9413de4" providerId="LiveId" clId="{4AF140CF-3027-4683-B79B-0FBF16533509}" dt="2024-09-04T11:01:05.846" v="5331" actId="21"/>
          <ac:graphicFrameMkLst>
            <pc:docMk/>
            <pc:sldMk cId="1794206841" sldId="439"/>
            <ac:graphicFrameMk id="8" creationId="{A22561A6-91B7-5613-CC1B-8BF3BD6C64F1}"/>
          </ac:graphicFrameMkLst>
        </pc:graphicFrameChg>
        <pc:picChg chg="add mod modCrop">
          <ac:chgData name="Ashwin Sunder" userId="0dc3bf7fb9413de4" providerId="LiveId" clId="{4AF140CF-3027-4683-B79B-0FBF16533509}" dt="2024-09-06T07:59:17.546" v="7123" actId="14100"/>
          <ac:picMkLst>
            <pc:docMk/>
            <pc:sldMk cId="1794206841" sldId="439"/>
            <ac:picMk id="7" creationId="{CB07E391-A002-6312-00F0-22C80924620B}"/>
          </ac:picMkLst>
        </pc:picChg>
        <pc:picChg chg="del">
          <ac:chgData name="Ashwin Sunder" userId="0dc3bf7fb9413de4" providerId="LiveId" clId="{4AF140CF-3027-4683-B79B-0FBF16533509}" dt="2024-09-04T11:03:02.649" v="5363" actId="478"/>
          <ac:picMkLst>
            <pc:docMk/>
            <pc:sldMk cId="1794206841" sldId="439"/>
            <ac:picMk id="9" creationId="{765C9992-2513-0FE8-0AEC-0B2F6A6406AD}"/>
          </ac:picMkLst>
        </pc:picChg>
        <pc:picChg chg="del">
          <ac:chgData name="Ashwin Sunder" userId="0dc3bf7fb9413de4" providerId="LiveId" clId="{4AF140CF-3027-4683-B79B-0FBF16533509}" dt="2024-09-04T11:03:02.162" v="5362" actId="478"/>
          <ac:picMkLst>
            <pc:docMk/>
            <pc:sldMk cId="1794206841" sldId="439"/>
            <ac:picMk id="10" creationId="{11F51599-0E96-CEAB-A4CD-6D94442836A5}"/>
          </ac:picMkLst>
        </pc:picChg>
        <pc:picChg chg="add mod">
          <ac:chgData name="Ashwin Sunder" userId="0dc3bf7fb9413de4" providerId="LiveId" clId="{4AF140CF-3027-4683-B79B-0FBF16533509}" dt="2024-09-04T11:48:16.742" v="6390"/>
          <ac:picMkLst>
            <pc:docMk/>
            <pc:sldMk cId="1794206841" sldId="439"/>
            <ac:picMk id="11" creationId="{BDC0A825-B8B3-1670-7457-1C1E64C4E2C9}"/>
          </ac:picMkLst>
        </pc:picChg>
      </pc:sldChg>
      <pc:sldChg chg="addSp delSp modSp add mod delAnim modAnim">
        <pc:chgData name="Ashwin Sunder" userId="0dc3bf7fb9413de4" providerId="LiveId" clId="{4AF140CF-3027-4683-B79B-0FBF16533509}" dt="2024-09-28T11:55:07.230" v="21227" actId="20577"/>
        <pc:sldMkLst>
          <pc:docMk/>
          <pc:sldMk cId="3859831103" sldId="440"/>
        </pc:sldMkLst>
        <pc:spChg chg="add del mod">
          <ac:chgData name="Ashwin Sunder" userId="0dc3bf7fb9413de4" providerId="LiveId" clId="{4AF140CF-3027-4683-B79B-0FBF16533509}" dt="2024-09-27T11:10:46.857" v="21018" actId="1076"/>
          <ac:spMkLst>
            <pc:docMk/>
            <pc:sldMk cId="3859831103" sldId="440"/>
            <ac:spMk id="3" creationId="{26FCEC27-32FC-CCF3-2DCC-2BF6662188B8}"/>
          </ac:spMkLst>
        </pc:spChg>
        <pc:spChg chg="mod">
          <ac:chgData name="Ashwin Sunder" userId="0dc3bf7fb9413de4" providerId="LiveId" clId="{4AF140CF-3027-4683-B79B-0FBF16533509}" dt="2024-09-04T11:58:47.045" v="6492" actId="20577"/>
          <ac:spMkLst>
            <pc:docMk/>
            <pc:sldMk cId="3859831103" sldId="440"/>
            <ac:spMk id="4" creationId="{C394EA77-4737-FD1E-A05D-4B2E2F5578AB}"/>
          </ac:spMkLst>
        </pc:spChg>
        <pc:spChg chg="add mod">
          <ac:chgData name="Ashwin Sunder" userId="0dc3bf7fb9413de4" providerId="LiveId" clId="{4AF140CF-3027-4683-B79B-0FBF16533509}" dt="2024-09-20T12:01:00.160" v="17527" actId="20577"/>
          <ac:spMkLst>
            <pc:docMk/>
            <pc:sldMk cId="3859831103" sldId="440"/>
            <ac:spMk id="5" creationId="{536E7A5E-771A-93EB-B9D9-62C7B59A5556}"/>
          </ac:spMkLst>
        </pc:spChg>
        <pc:spChg chg="del">
          <ac:chgData name="Ashwin Sunder" userId="0dc3bf7fb9413de4" providerId="LiveId" clId="{4AF140CF-3027-4683-B79B-0FBF16533509}" dt="2024-09-04T11:52:49.572" v="6428" actId="478"/>
          <ac:spMkLst>
            <pc:docMk/>
            <pc:sldMk cId="3859831103" sldId="440"/>
            <ac:spMk id="7" creationId="{3379DEE7-FB57-C60C-A33B-27D15882E962}"/>
          </ac:spMkLst>
        </pc:spChg>
        <pc:spChg chg="add del mod">
          <ac:chgData name="Ashwin Sunder" userId="0dc3bf7fb9413de4" providerId="LiveId" clId="{4AF140CF-3027-4683-B79B-0FBF16533509}" dt="2024-09-27T11:11:01.166" v="21019" actId="1076"/>
          <ac:spMkLst>
            <pc:docMk/>
            <pc:sldMk cId="3859831103" sldId="440"/>
            <ac:spMk id="7" creationId="{900E6F88-59D5-4D33-2580-A318129BF74E}"/>
          </ac:spMkLst>
        </pc:spChg>
        <pc:spChg chg="add del mod">
          <ac:chgData name="Ashwin Sunder" userId="0dc3bf7fb9413de4" providerId="LiveId" clId="{4AF140CF-3027-4683-B79B-0FBF16533509}" dt="2024-09-20T11:59:28.858" v="17509" actId="478"/>
          <ac:spMkLst>
            <pc:docMk/>
            <pc:sldMk cId="3859831103" sldId="440"/>
            <ac:spMk id="9" creationId="{0405D0F2-3EA2-B718-DCD2-0D22586BB468}"/>
          </ac:spMkLst>
        </pc:spChg>
        <pc:spChg chg="add mod">
          <ac:chgData name="Ashwin Sunder" userId="0dc3bf7fb9413de4" providerId="LiveId" clId="{4AF140CF-3027-4683-B79B-0FBF16533509}" dt="2024-09-27T11:11:08.084" v="21020" actId="1076"/>
          <ac:spMkLst>
            <pc:docMk/>
            <pc:sldMk cId="3859831103" sldId="440"/>
            <ac:spMk id="9" creationId="{BD2C716B-D2B9-22A1-B7AD-1A155D84F0AA}"/>
          </ac:spMkLst>
        </pc:spChg>
        <pc:spChg chg="del">
          <ac:chgData name="Ashwin Sunder" userId="0dc3bf7fb9413de4" providerId="LiveId" clId="{4AF140CF-3027-4683-B79B-0FBF16533509}" dt="2024-09-04T11:48:31.165" v="6392" actId="478"/>
          <ac:spMkLst>
            <pc:docMk/>
            <pc:sldMk cId="3859831103" sldId="440"/>
            <ac:spMk id="11" creationId="{2B6D0ABC-8DF9-F368-9A21-506E62BC29C1}"/>
          </ac:spMkLst>
        </pc:spChg>
        <pc:spChg chg="add mod">
          <ac:chgData name="Ashwin Sunder" userId="0dc3bf7fb9413de4" providerId="LiveId" clId="{4AF140CF-3027-4683-B79B-0FBF16533509}" dt="2024-09-20T12:01:18.873" v="17534" actId="20577"/>
          <ac:spMkLst>
            <pc:docMk/>
            <pc:sldMk cId="3859831103" sldId="440"/>
            <ac:spMk id="12" creationId="{BE1527DF-9BF3-460E-85C9-7CF8F885DFA8}"/>
          </ac:spMkLst>
        </pc:spChg>
        <pc:spChg chg="del">
          <ac:chgData name="Ashwin Sunder" userId="0dc3bf7fb9413de4" providerId="LiveId" clId="{4AF140CF-3027-4683-B79B-0FBF16533509}" dt="2024-09-04T11:48:31.165" v="6392" actId="478"/>
          <ac:spMkLst>
            <pc:docMk/>
            <pc:sldMk cId="3859831103" sldId="440"/>
            <ac:spMk id="16" creationId="{2D8B4533-EFCF-B987-1E09-BE27CF4D839D}"/>
          </ac:spMkLst>
        </pc:spChg>
        <pc:graphicFrameChg chg="mod modGraphic">
          <ac:chgData name="Ashwin Sunder" userId="0dc3bf7fb9413de4" providerId="LiveId" clId="{4AF140CF-3027-4683-B79B-0FBF16533509}" dt="2024-09-27T09:07:23.569" v="20104" actId="1076"/>
          <ac:graphicFrameMkLst>
            <pc:docMk/>
            <pc:sldMk cId="3859831103" sldId="440"/>
            <ac:graphicFrameMk id="6" creationId="{1D062EA0-CDCF-48DC-6C73-3A9678449E30}"/>
          </ac:graphicFrameMkLst>
        </pc:graphicFrameChg>
        <pc:graphicFrameChg chg="add mod modGraphic">
          <ac:chgData name="Ashwin Sunder" userId="0dc3bf7fb9413de4" providerId="LiveId" clId="{4AF140CF-3027-4683-B79B-0FBF16533509}" dt="2024-09-28T11:55:07.230" v="21227" actId="20577"/>
          <ac:graphicFrameMkLst>
            <pc:docMk/>
            <pc:sldMk cId="3859831103" sldId="440"/>
            <ac:graphicFrameMk id="8" creationId="{CFEA7E32-5540-926A-E681-ADDA9BC3778E}"/>
          </ac:graphicFrameMkLst>
        </pc:graphicFrameChg>
        <pc:picChg chg="del">
          <ac:chgData name="Ashwin Sunder" userId="0dc3bf7fb9413de4" providerId="LiveId" clId="{4AF140CF-3027-4683-B79B-0FBF16533509}" dt="2024-09-04T11:48:42.938" v="6393" actId="478"/>
          <ac:picMkLst>
            <pc:docMk/>
            <pc:sldMk cId="3859831103" sldId="440"/>
            <ac:picMk id="3" creationId="{11B1B615-C00F-DA0E-5CA4-3EB3A661EA0D}"/>
          </ac:picMkLst>
        </pc:picChg>
        <pc:picChg chg="add del mod">
          <ac:chgData name="Ashwin Sunder" userId="0dc3bf7fb9413de4" providerId="LiveId" clId="{4AF140CF-3027-4683-B79B-0FBF16533509}" dt="2024-09-10T09:01:07.750" v="14883" actId="478"/>
          <ac:picMkLst>
            <pc:docMk/>
            <pc:sldMk cId="3859831103" sldId="440"/>
            <ac:picMk id="5" creationId="{43482634-A55D-C59A-D03A-204E3713DA9E}"/>
          </ac:picMkLst>
        </pc:picChg>
        <pc:picChg chg="del">
          <ac:chgData name="Ashwin Sunder" userId="0dc3bf7fb9413de4" providerId="LiveId" clId="{4AF140CF-3027-4683-B79B-0FBF16533509}" dt="2024-09-04T11:48:31.165" v="6392" actId="478"/>
          <ac:picMkLst>
            <pc:docMk/>
            <pc:sldMk cId="3859831103" sldId="440"/>
            <ac:picMk id="5" creationId="{4579F491-1519-1C9C-5F41-4C4DCA88FD50}"/>
          </ac:picMkLst>
        </pc:picChg>
        <pc:picChg chg="add mod">
          <ac:chgData name="Ashwin Sunder" userId="0dc3bf7fb9413de4" providerId="LiveId" clId="{4AF140CF-3027-4683-B79B-0FBF16533509}" dt="2024-09-20T12:00:35.710" v="17519" actId="14100"/>
          <ac:picMkLst>
            <pc:docMk/>
            <pc:sldMk cId="3859831103" sldId="440"/>
            <ac:picMk id="10" creationId="{233703AF-3AA5-F4E4-9A3D-8C3A6EC39147}"/>
          </ac:picMkLst>
        </pc:picChg>
        <pc:picChg chg="add mod">
          <ac:chgData name="Ashwin Sunder" userId="0dc3bf7fb9413de4" providerId="LiveId" clId="{4AF140CF-3027-4683-B79B-0FBF16533509}" dt="2024-09-20T12:00:38.324" v="17520" actId="14100"/>
          <ac:picMkLst>
            <pc:docMk/>
            <pc:sldMk cId="3859831103" sldId="440"/>
            <ac:picMk id="11" creationId="{E9E5F957-5145-E903-17AA-D0AD45592F4D}"/>
          </ac:picMkLst>
        </pc:picChg>
      </pc:sldChg>
      <pc:sldChg chg="addSp delSp modSp add mod">
        <pc:chgData name="Ashwin Sunder" userId="0dc3bf7fb9413de4" providerId="LiveId" clId="{4AF140CF-3027-4683-B79B-0FBF16533509}" dt="2024-09-27T10:00:27.688" v="20550" actId="1076"/>
        <pc:sldMkLst>
          <pc:docMk/>
          <pc:sldMk cId="2711029913" sldId="441"/>
        </pc:sldMkLst>
        <pc:spChg chg="mod">
          <ac:chgData name="Ashwin Sunder" userId="0dc3bf7fb9413de4" providerId="LiveId" clId="{4AF140CF-3027-4683-B79B-0FBF16533509}" dt="2024-09-27T10:00:17.320" v="20548" actId="1076"/>
          <ac:spMkLst>
            <pc:docMk/>
            <pc:sldMk cId="2711029913" sldId="441"/>
            <ac:spMk id="7" creationId="{3379DEE7-FB57-C60C-A33B-27D15882E962}"/>
          </ac:spMkLst>
        </pc:spChg>
        <pc:spChg chg="mod">
          <ac:chgData name="Ashwin Sunder" userId="0dc3bf7fb9413de4" providerId="LiveId" clId="{4AF140CF-3027-4683-B79B-0FBF16533509}" dt="2024-09-27T10:00:23.026" v="20549" actId="1076"/>
          <ac:spMkLst>
            <pc:docMk/>
            <pc:sldMk cId="2711029913" sldId="441"/>
            <ac:spMk id="11" creationId="{2B6D0ABC-8DF9-F368-9A21-506E62BC29C1}"/>
          </ac:spMkLst>
        </pc:spChg>
        <pc:spChg chg="mod">
          <ac:chgData name="Ashwin Sunder" userId="0dc3bf7fb9413de4" providerId="LiveId" clId="{4AF140CF-3027-4683-B79B-0FBF16533509}" dt="2024-09-27T10:00:27.688" v="20550" actId="1076"/>
          <ac:spMkLst>
            <pc:docMk/>
            <pc:sldMk cId="2711029913" sldId="441"/>
            <ac:spMk id="16" creationId="{2D8B4533-EFCF-B987-1E09-BE27CF4D839D}"/>
          </ac:spMkLst>
        </pc:spChg>
        <pc:picChg chg="del">
          <ac:chgData name="Ashwin Sunder" userId="0dc3bf7fb9413de4" providerId="LiveId" clId="{4AF140CF-3027-4683-B79B-0FBF16533509}" dt="2024-09-04T12:00:42.509" v="6500" actId="478"/>
          <ac:picMkLst>
            <pc:docMk/>
            <pc:sldMk cId="2711029913" sldId="441"/>
            <ac:picMk id="3" creationId="{11B1B615-C00F-DA0E-5CA4-3EB3A661EA0D}"/>
          </ac:picMkLst>
        </pc:picChg>
        <pc:picChg chg="add del mod">
          <ac:chgData name="Ashwin Sunder" userId="0dc3bf7fb9413de4" providerId="LiveId" clId="{4AF140CF-3027-4683-B79B-0FBF16533509}" dt="2024-09-23T09:50:10.073" v="18088" actId="478"/>
          <ac:picMkLst>
            <pc:docMk/>
            <pc:sldMk cId="2711029913" sldId="441"/>
            <ac:picMk id="3" creationId="{180969C9-39B1-9F81-3C01-C98FF62A54AF}"/>
          </ac:picMkLst>
        </pc:picChg>
        <pc:picChg chg="del">
          <ac:chgData name="Ashwin Sunder" userId="0dc3bf7fb9413de4" providerId="LiveId" clId="{4AF140CF-3027-4683-B79B-0FBF16533509}" dt="2024-09-04T12:03:18.017" v="6573" actId="478"/>
          <ac:picMkLst>
            <pc:docMk/>
            <pc:sldMk cId="2711029913" sldId="441"/>
            <ac:picMk id="5" creationId="{4579F491-1519-1C9C-5F41-4C4DCA88FD50}"/>
          </ac:picMkLst>
        </pc:picChg>
        <pc:picChg chg="add del mod">
          <ac:chgData name="Ashwin Sunder" userId="0dc3bf7fb9413de4" providerId="LiveId" clId="{4AF140CF-3027-4683-B79B-0FBF16533509}" dt="2024-09-23T09:50:46.379" v="18092" actId="478"/>
          <ac:picMkLst>
            <pc:docMk/>
            <pc:sldMk cId="2711029913" sldId="441"/>
            <ac:picMk id="5" creationId="{B21C3A98-29CA-AAE7-E78E-047BC469E3D7}"/>
          </ac:picMkLst>
        </pc:picChg>
        <pc:picChg chg="add del mod">
          <ac:chgData name="Ashwin Sunder" userId="0dc3bf7fb9413de4" providerId="LiveId" clId="{4AF140CF-3027-4683-B79B-0FBF16533509}" dt="2024-09-05T08:28:02.313" v="7101" actId="478"/>
          <ac:picMkLst>
            <pc:docMk/>
            <pc:sldMk cId="2711029913" sldId="441"/>
            <ac:picMk id="6" creationId="{153FBD39-47B6-0F7F-86E5-A2ABE266A4B7}"/>
          </ac:picMkLst>
        </pc:picChg>
        <pc:picChg chg="add del mod">
          <ac:chgData name="Ashwin Sunder" userId="0dc3bf7fb9413de4" providerId="LiveId" clId="{4AF140CF-3027-4683-B79B-0FBF16533509}" dt="2024-09-05T08:30:36.188" v="7107" actId="478"/>
          <ac:picMkLst>
            <pc:docMk/>
            <pc:sldMk cId="2711029913" sldId="441"/>
            <ac:picMk id="8" creationId="{3B8E6E1D-833B-3A3D-2FF9-6109CE23A324}"/>
          </ac:picMkLst>
        </pc:picChg>
        <pc:picChg chg="add mod modCrop">
          <ac:chgData name="Ashwin Sunder" userId="0dc3bf7fb9413de4" providerId="LiveId" clId="{4AF140CF-3027-4683-B79B-0FBF16533509}" dt="2024-09-27T10:00:03.609" v="20546" actId="1076"/>
          <ac:picMkLst>
            <pc:docMk/>
            <pc:sldMk cId="2711029913" sldId="441"/>
            <ac:picMk id="8" creationId="{9FF68F1E-5815-A916-93AD-0E4FE79740FE}"/>
          </ac:picMkLst>
        </pc:picChg>
        <pc:picChg chg="add mod ord modCrop">
          <ac:chgData name="Ashwin Sunder" userId="0dc3bf7fb9413de4" providerId="LiveId" clId="{4AF140CF-3027-4683-B79B-0FBF16533509}" dt="2024-09-27T10:00:06.343" v="20547" actId="14100"/>
          <ac:picMkLst>
            <pc:docMk/>
            <pc:sldMk cId="2711029913" sldId="441"/>
            <ac:picMk id="10" creationId="{CAB16B83-D2FD-DB02-B413-701C7504C00A}"/>
          </ac:picMkLst>
        </pc:picChg>
      </pc:sldChg>
      <pc:sldChg chg="addSp delSp modSp add del mod">
        <pc:chgData name="Ashwin Sunder" userId="0dc3bf7fb9413de4" providerId="LiveId" clId="{4AF140CF-3027-4683-B79B-0FBF16533509}" dt="2024-09-06T10:17:35.010" v="8626" actId="2696"/>
        <pc:sldMkLst>
          <pc:docMk/>
          <pc:sldMk cId="2435244642" sldId="442"/>
        </pc:sldMkLst>
        <pc:spChg chg="mod">
          <ac:chgData name="Ashwin Sunder" userId="0dc3bf7fb9413de4" providerId="LiveId" clId="{4AF140CF-3027-4683-B79B-0FBF16533509}" dt="2024-09-06T09:04:19.686" v="7294" actId="20577"/>
          <ac:spMkLst>
            <pc:docMk/>
            <pc:sldMk cId="2435244642" sldId="442"/>
            <ac:spMk id="4" creationId="{C394EA77-4737-FD1E-A05D-4B2E2F5578AB}"/>
          </ac:spMkLst>
        </pc:spChg>
        <pc:spChg chg="mod">
          <ac:chgData name="Ashwin Sunder" userId="0dc3bf7fb9413de4" providerId="LiveId" clId="{4AF140CF-3027-4683-B79B-0FBF16533509}" dt="2024-09-06T10:01:47.030" v="8526" actId="1076"/>
          <ac:spMkLst>
            <pc:docMk/>
            <pc:sldMk cId="2435244642" sldId="442"/>
            <ac:spMk id="7" creationId="{3379DEE7-FB57-C60C-A33B-27D15882E962}"/>
          </ac:spMkLst>
        </pc:spChg>
        <pc:spChg chg="mod">
          <ac:chgData name="Ashwin Sunder" userId="0dc3bf7fb9413de4" providerId="LiveId" clId="{4AF140CF-3027-4683-B79B-0FBF16533509}" dt="2024-09-06T10:01:42.532" v="8525" actId="1076"/>
          <ac:spMkLst>
            <pc:docMk/>
            <pc:sldMk cId="2435244642" sldId="442"/>
            <ac:spMk id="11" creationId="{2B6D0ABC-8DF9-F368-9A21-506E62BC29C1}"/>
          </ac:spMkLst>
        </pc:spChg>
        <pc:spChg chg="add mod">
          <ac:chgData name="Ashwin Sunder" userId="0dc3bf7fb9413de4" providerId="LiveId" clId="{4AF140CF-3027-4683-B79B-0FBF16533509}" dt="2024-09-06T10:02:28.426" v="8531" actId="1076"/>
          <ac:spMkLst>
            <pc:docMk/>
            <pc:sldMk cId="2435244642" sldId="442"/>
            <ac:spMk id="12" creationId="{78C4B89C-AB17-4CF0-51FA-1FD3ED84014E}"/>
          </ac:spMkLst>
        </pc:spChg>
        <pc:spChg chg="add mod">
          <ac:chgData name="Ashwin Sunder" userId="0dc3bf7fb9413de4" providerId="LiveId" clId="{4AF140CF-3027-4683-B79B-0FBF16533509}" dt="2024-09-06T10:02:10.173" v="8530" actId="1076"/>
          <ac:spMkLst>
            <pc:docMk/>
            <pc:sldMk cId="2435244642" sldId="442"/>
            <ac:spMk id="13" creationId="{6D353977-0BF2-7E74-7A29-518A8D8C1D4B}"/>
          </ac:spMkLst>
        </pc:spChg>
        <pc:spChg chg="mod">
          <ac:chgData name="Ashwin Sunder" userId="0dc3bf7fb9413de4" providerId="LiveId" clId="{4AF140CF-3027-4683-B79B-0FBF16533509}" dt="2024-09-06T10:05:05.181" v="8534" actId="20577"/>
          <ac:spMkLst>
            <pc:docMk/>
            <pc:sldMk cId="2435244642" sldId="442"/>
            <ac:spMk id="16" creationId="{2D8B4533-EFCF-B987-1E09-BE27CF4D839D}"/>
          </ac:spMkLst>
        </pc:spChg>
        <pc:picChg chg="del">
          <ac:chgData name="Ashwin Sunder" userId="0dc3bf7fb9413de4" providerId="LiveId" clId="{4AF140CF-3027-4683-B79B-0FBF16533509}" dt="2024-09-06T09:16:51.822" v="7296" actId="478"/>
          <ac:picMkLst>
            <pc:docMk/>
            <pc:sldMk cId="2435244642" sldId="442"/>
            <ac:picMk id="3" creationId="{11B1B615-C00F-DA0E-5CA4-3EB3A661EA0D}"/>
          </ac:picMkLst>
        </pc:picChg>
        <pc:picChg chg="del">
          <ac:chgData name="Ashwin Sunder" userId="0dc3bf7fb9413de4" providerId="LiveId" clId="{4AF140CF-3027-4683-B79B-0FBF16533509}" dt="2024-09-06T09:19:21.786" v="7359" actId="478"/>
          <ac:picMkLst>
            <pc:docMk/>
            <pc:sldMk cId="2435244642" sldId="442"/>
            <ac:picMk id="5" creationId="{4579F491-1519-1C9C-5F41-4C4DCA88FD50}"/>
          </ac:picMkLst>
        </pc:picChg>
        <pc:picChg chg="add mod">
          <ac:chgData name="Ashwin Sunder" userId="0dc3bf7fb9413de4" providerId="LiveId" clId="{4AF140CF-3027-4683-B79B-0FBF16533509}" dt="2024-09-06T10:10:17.842" v="8596" actId="1076"/>
          <ac:picMkLst>
            <pc:docMk/>
            <pc:sldMk cId="2435244642" sldId="442"/>
            <ac:picMk id="6" creationId="{8BA24F5F-B247-4EA1-E48F-64CE64FBC62F}"/>
          </ac:picMkLst>
        </pc:picChg>
        <pc:picChg chg="add mod">
          <ac:chgData name="Ashwin Sunder" userId="0dc3bf7fb9413de4" providerId="LiveId" clId="{4AF140CF-3027-4683-B79B-0FBF16533509}" dt="2024-09-06T10:01:29.217" v="8523" actId="1076"/>
          <ac:picMkLst>
            <pc:docMk/>
            <pc:sldMk cId="2435244642" sldId="442"/>
            <ac:picMk id="8" creationId="{D760C006-29A2-0286-B7B5-8A09BBA7AE24}"/>
          </ac:picMkLst>
        </pc:picChg>
        <pc:picChg chg="add mod">
          <ac:chgData name="Ashwin Sunder" userId="0dc3bf7fb9413de4" providerId="LiveId" clId="{4AF140CF-3027-4683-B79B-0FBF16533509}" dt="2024-09-06T10:02:03.567" v="8529" actId="1076"/>
          <ac:picMkLst>
            <pc:docMk/>
            <pc:sldMk cId="2435244642" sldId="442"/>
            <ac:picMk id="9" creationId="{18332943-4ABC-CE8F-F4BA-F7EC021CA3E1}"/>
          </ac:picMkLst>
        </pc:picChg>
        <pc:picChg chg="add mod">
          <ac:chgData name="Ashwin Sunder" userId="0dc3bf7fb9413de4" providerId="LiveId" clId="{4AF140CF-3027-4683-B79B-0FBF16533509}" dt="2024-09-06T10:01:56.888" v="8527" actId="1076"/>
          <ac:picMkLst>
            <pc:docMk/>
            <pc:sldMk cId="2435244642" sldId="442"/>
            <ac:picMk id="10" creationId="{8FC635D8-ED52-E5BA-C25C-1D3832DDEDA7}"/>
          </ac:picMkLst>
        </pc:picChg>
      </pc:sldChg>
      <pc:sldChg chg="addSp delSp modSp add del mod ord">
        <pc:chgData name="Ashwin Sunder" userId="0dc3bf7fb9413de4" providerId="LiveId" clId="{4AF140CF-3027-4683-B79B-0FBF16533509}" dt="2024-09-26T11:40:16.435" v="20018" actId="2696"/>
        <pc:sldMkLst>
          <pc:docMk/>
          <pc:sldMk cId="1252273912" sldId="443"/>
        </pc:sldMkLst>
        <pc:spChg chg="mod">
          <ac:chgData name="Ashwin Sunder" userId="0dc3bf7fb9413de4" providerId="LiveId" clId="{4AF140CF-3027-4683-B79B-0FBF16533509}" dt="2024-09-23T11:22:55.436" v="19022" actId="20577"/>
          <ac:spMkLst>
            <pc:docMk/>
            <pc:sldMk cId="1252273912" sldId="443"/>
            <ac:spMk id="4" creationId="{C394EA77-4737-FD1E-A05D-4B2E2F5578AB}"/>
          </ac:spMkLst>
        </pc:spChg>
        <pc:spChg chg="mod">
          <ac:chgData name="Ashwin Sunder" userId="0dc3bf7fb9413de4" providerId="LiveId" clId="{4AF140CF-3027-4683-B79B-0FBF16533509}" dt="2024-09-24T08:51:58.471" v="19180" actId="114"/>
          <ac:spMkLst>
            <pc:docMk/>
            <pc:sldMk cId="1252273912" sldId="443"/>
            <ac:spMk id="7" creationId="{3379DEE7-FB57-C60C-A33B-27D15882E962}"/>
          </ac:spMkLst>
        </pc:spChg>
        <pc:spChg chg="del mod">
          <ac:chgData name="Ashwin Sunder" userId="0dc3bf7fb9413de4" providerId="LiveId" clId="{4AF140CF-3027-4683-B79B-0FBF16533509}" dt="2024-09-23T10:21:44.682" v="18407" actId="478"/>
          <ac:spMkLst>
            <pc:docMk/>
            <pc:sldMk cId="1252273912" sldId="443"/>
            <ac:spMk id="11" creationId="{2B6D0ABC-8DF9-F368-9A21-506E62BC29C1}"/>
          </ac:spMkLst>
        </pc:spChg>
        <pc:spChg chg="add mod">
          <ac:chgData name="Ashwin Sunder" userId="0dc3bf7fb9413de4" providerId="LiveId" clId="{4AF140CF-3027-4683-B79B-0FBF16533509}" dt="2024-09-24T08:52:37.604" v="19188" actId="20577"/>
          <ac:spMkLst>
            <pc:docMk/>
            <pc:sldMk cId="1252273912" sldId="443"/>
            <ac:spMk id="12" creationId="{C377A8F6-7472-D0C0-9122-AAED66242135}"/>
          </ac:spMkLst>
        </pc:spChg>
        <pc:spChg chg="mod">
          <ac:chgData name="Ashwin Sunder" userId="0dc3bf7fb9413de4" providerId="LiveId" clId="{4AF140CF-3027-4683-B79B-0FBF16533509}" dt="2024-09-23T11:22:08.456" v="18997" actId="20577"/>
          <ac:spMkLst>
            <pc:docMk/>
            <pc:sldMk cId="1252273912" sldId="443"/>
            <ac:spMk id="16" creationId="{2D8B4533-EFCF-B987-1E09-BE27CF4D839D}"/>
          </ac:spMkLst>
        </pc:spChg>
        <pc:picChg chg="del">
          <ac:chgData name="Ashwin Sunder" userId="0dc3bf7fb9413de4" providerId="LiveId" clId="{4AF140CF-3027-4683-B79B-0FBF16533509}" dt="2024-09-06T10:10:23.380" v="8598" actId="478"/>
          <ac:picMkLst>
            <pc:docMk/>
            <pc:sldMk cId="1252273912" sldId="443"/>
            <ac:picMk id="3" creationId="{180969C9-39B1-9F81-3C01-C98FF62A54AF}"/>
          </ac:picMkLst>
        </pc:picChg>
        <pc:picChg chg="del">
          <ac:chgData name="Ashwin Sunder" userId="0dc3bf7fb9413de4" providerId="LiveId" clId="{4AF140CF-3027-4683-B79B-0FBF16533509}" dt="2024-09-06T10:11:06.498" v="8605" actId="478"/>
          <ac:picMkLst>
            <pc:docMk/>
            <pc:sldMk cId="1252273912" sldId="443"/>
            <ac:picMk id="5" creationId="{B21C3A98-29CA-AAE7-E78E-047BC469E3D7}"/>
          </ac:picMkLst>
        </pc:picChg>
        <pc:picChg chg="add mod">
          <ac:chgData name="Ashwin Sunder" userId="0dc3bf7fb9413de4" providerId="LiveId" clId="{4AF140CF-3027-4683-B79B-0FBF16533509}" dt="2024-09-23T10:54:07.368" v="18849" actId="14100"/>
          <ac:picMkLst>
            <pc:docMk/>
            <pc:sldMk cId="1252273912" sldId="443"/>
            <ac:picMk id="5" creationId="{BFA86C35-02B5-1F9B-78D1-9712B034A48F}"/>
          </ac:picMkLst>
        </pc:picChg>
        <pc:picChg chg="add del mod">
          <ac:chgData name="Ashwin Sunder" userId="0dc3bf7fb9413de4" providerId="LiveId" clId="{4AF140CF-3027-4683-B79B-0FBF16533509}" dt="2024-09-23T10:22:12.240" v="18409" actId="478"/>
          <ac:picMkLst>
            <pc:docMk/>
            <pc:sldMk cId="1252273912" sldId="443"/>
            <ac:picMk id="6" creationId="{B91AC90F-EB37-1C22-4F61-9AA403644FFE}"/>
          </ac:picMkLst>
        </pc:picChg>
        <pc:picChg chg="add del mod">
          <ac:chgData name="Ashwin Sunder" userId="0dc3bf7fb9413de4" providerId="LiveId" clId="{4AF140CF-3027-4683-B79B-0FBF16533509}" dt="2024-09-23T10:21:45.440" v="18408" actId="478"/>
          <ac:picMkLst>
            <pc:docMk/>
            <pc:sldMk cId="1252273912" sldId="443"/>
            <ac:picMk id="8" creationId="{502BB2EA-3478-92E0-2F7E-57A71C683C73}"/>
          </ac:picMkLst>
        </pc:picChg>
        <pc:picChg chg="add del mod">
          <ac:chgData name="Ashwin Sunder" userId="0dc3bf7fb9413de4" providerId="LiveId" clId="{4AF140CF-3027-4683-B79B-0FBF16533509}" dt="2024-09-23T11:20:18.632" v="18989" actId="478"/>
          <ac:picMkLst>
            <pc:docMk/>
            <pc:sldMk cId="1252273912" sldId="443"/>
            <ac:picMk id="10" creationId="{128E2E77-74CD-6E32-F675-DF6BB1820F25}"/>
          </ac:picMkLst>
        </pc:picChg>
        <pc:picChg chg="add mod ord modCrop">
          <ac:chgData name="Ashwin Sunder" userId="0dc3bf7fb9413de4" providerId="LiveId" clId="{4AF140CF-3027-4683-B79B-0FBF16533509}" dt="2024-09-23T11:21:07.385" v="18996" actId="732"/>
          <ac:picMkLst>
            <pc:docMk/>
            <pc:sldMk cId="1252273912" sldId="443"/>
            <ac:picMk id="14" creationId="{341F2E59-BC92-8244-D266-091FE97E4FA7}"/>
          </ac:picMkLst>
        </pc:picChg>
      </pc:sldChg>
      <pc:sldChg chg="modSp add">
        <pc:chgData name="Ashwin Sunder" userId="0dc3bf7fb9413de4" providerId="LiveId" clId="{4AF140CF-3027-4683-B79B-0FBF16533509}" dt="2024-09-30T11:09:37.992" v="23844" actId="20577"/>
        <pc:sldMkLst>
          <pc:docMk/>
          <pc:sldMk cId="3004268129" sldId="443"/>
        </pc:sldMkLst>
        <pc:spChg chg="mod">
          <ac:chgData name="Ashwin Sunder" userId="0dc3bf7fb9413de4" providerId="LiveId" clId="{4AF140CF-3027-4683-B79B-0FBF16533509}" dt="2024-09-30T11:09:37.992" v="23844" actId="20577"/>
          <ac:spMkLst>
            <pc:docMk/>
            <pc:sldMk cId="3004268129" sldId="443"/>
            <ac:spMk id="16" creationId="{2D8B4533-EFCF-B987-1E09-BE27CF4D839D}"/>
          </ac:spMkLst>
        </pc:spChg>
      </pc:sldChg>
      <pc:sldChg chg="addSp delSp modSp add mod modAnim">
        <pc:chgData name="Ashwin Sunder" userId="0dc3bf7fb9413de4" providerId="LiveId" clId="{4AF140CF-3027-4683-B79B-0FBF16533509}" dt="2024-09-27T11:12:24.058" v="21029" actId="20577"/>
        <pc:sldMkLst>
          <pc:docMk/>
          <pc:sldMk cId="1127904614" sldId="444"/>
        </pc:sldMkLst>
        <pc:spChg chg="mod">
          <ac:chgData name="Ashwin Sunder" userId="0dc3bf7fb9413de4" providerId="LiveId" clId="{4AF140CF-3027-4683-B79B-0FBF16533509}" dt="2024-09-06T11:19:46.820" v="9185" actId="1076"/>
          <ac:spMkLst>
            <pc:docMk/>
            <pc:sldMk cId="1127904614" sldId="444"/>
            <ac:spMk id="3" creationId="{26FCEC27-32FC-CCF3-2DCC-2BF6662188B8}"/>
          </ac:spMkLst>
        </pc:spChg>
        <pc:spChg chg="mod">
          <ac:chgData name="Ashwin Sunder" userId="0dc3bf7fb9413de4" providerId="LiveId" clId="{4AF140CF-3027-4683-B79B-0FBF16533509}" dt="2024-09-06T10:40:13.012" v="8719" actId="20577"/>
          <ac:spMkLst>
            <pc:docMk/>
            <pc:sldMk cId="1127904614" sldId="444"/>
            <ac:spMk id="4" creationId="{C394EA77-4737-FD1E-A05D-4B2E2F5578AB}"/>
          </ac:spMkLst>
        </pc:spChg>
        <pc:spChg chg="del mod">
          <ac:chgData name="Ashwin Sunder" userId="0dc3bf7fb9413de4" providerId="LiveId" clId="{4AF140CF-3027-4683-B79B-0FBF16533509}" dt="2024-09-06T10:40:43.999" v="8725"/>
          <ac:spMkLst>
            <pc:docMk/>
            <pc:sldMk cId="1127904614" sldId="444"/>
            <ac:spMk id="7" creationId="{900E6F88-59D5-4D33-2580-A318129BF74E}"/>
          </ac:spMkLst>
        </pc:spChg>
        <pc:spChg chg="del mod">
          <ac:chgData name="Ashwin Sunder" userId="0dc3bf7fb9413de4" providerId="LiveId" clId="{4AF140CF-3027-4683-B79B-0FBF16533509}" dt="2024-09-06T10:40:43.999" v="8723"/>
          <ac:spMkLst>
            <pc:docMk/>
            <pc:sldMk cId="1127904614" sldId="444"/>
            <ac:spMk id="9" creationId="{0405D0F2-3EA2-B718-DCD2-0D22586BB468}"/>
          </ac:spMkLst>
        </pc:spChg>
        <pc:spChg chg="add mod">
          <ac:chgData name="Ashwin Sunder" userId="0dc3bf7fb9413de4" providerId="LiveId" clId="{4AF140CF-3027-4683-B79B-0FBF16533509}" dt="2024-09-06T11:19:52.469" v="9186" actId="1076"/>
          <ac:spMkLst>
            <pc:docMk/>
            <pc:sldMk cId="1127904614" sldId="444"/>
            <ac:spMk id="11" creationId="{90B0FB70-3A59-7EF3-69D3-E6CE5F2233C3}"/>
          </ac:spMkLst>
        </pc:spChg>
        <pc:spChg chg="add mod">
          <ac:chgData name="Ashwin Sunder" userId="0dc3bf7fb9413de4" providerId="LiveId" clId="{4AF140CF-3027-4683-B79B-0FBF16533509}" dt="2024-09-27T11:12:24.058" v="21029" actId="20577"/>
          <ac:spMkLst>
            <pc:docMk/>
            <pc:sldMk cId="1127904614" sldId="444"/>
            <ac:spMk id="12" creationId="{2E0F502D-1B78-2FA3-79F7-F4DBD93F6F40}"/>
          </ac:spMkLst>
        </pc:spChg>
        <pc:spChg chg="add mod">
          <ac:chgData name="Ashwin Sunder" userId="0dc3bf7fb9413de4" providerId="LiveId" clId="{4AF140CF-3027-4683-B79B-0FBF16533509}" dt="2024-09-23T11:28:22.515" v="19029" actId="1076"/>
          <ac:spMkLst>
            <pc:docMk/>
            <pc:sldMk cId="1127904614" sldId="444"/>
            <ac:spMk id="15" creationId="{6736B584-A479-60AD-1CF4-9FF85B91806E}"/>
          </ac:spMkLst>
        </pc:spChg>
        <pc:spChg chg="add mod">
          <ac:chgData name="Ashwin Sunder" userId="0dc3bf7fb9413de4" providerId="LiveId" clId="{4AF140CF-3027-4683-B79B-0FBF16533509}" dt="2024-09-23T11:29:01.716" v="19034" actId="1076"/>
          <ac:spMkLst>
            <pc:docMk/>
            <pc:sldMk cId="1127904614" sldId="444"/>
            <ac:spMk id="16" creationId="{25A60C3C-308C-94D8-EC18-5A401614A8B7}"/>
          </ac:spMkLst>
        </pc:spChg>
        <pc:spChg chg="add mod">
          <ac:chgData name="Ashwin Sunder" userId="0dc3bf7fb9413de4" providerId="LiveId" clId="{4AF140CF-3027-4683-B79B-0FBF16533509}" dt="2024-09-23T11:28:37.221" v="19031" actId="1076"/>
          <ac:spMkLst>
            <pc:docMk/>
            <pc:sldMk cId="1127904614" sldId="444"/>
            <ac:spMk id="17" creationId="{FFB6ADBF-C431-522B-1530-69E68705186C}"/>
          </ac:spMkLst>
        </pc:spChg>
        <pc:spChg chg="add mod">
          <ac:chgData name="Ashwin Sunder" userId="0dc3bf7fb9413de4" providerId="LiveId" clId="{4AF140CF-3027-4683-B79B-0FBF16533509}" dt="2024-09-23T11:29:09.250" v="19035" actId="1076"/>
          <ac:spMkLst>
            <pc:docMk/>
            <pc:sldMk cId="1127904614" sldId="444"/>
            <ac:spMk id="18" creationId="{EAB7CCD8-0E7F-0EDE-46DB-091B23D00299}"/>
          </ac:spMkLst>
        </pc:spChg>
        <pc:graphicFrameChg chg="mod modGraphic">
          <ac:chgData name="Ashwin Sunder" userId="0dc3bf7fb9413de4" providerId="LiveId" clId="{4AF140CF-3027-4683-B79B-0FBF16533509}" dt="2024-09-06T11:01:48.394" v="8850" actId="1076"/>
          <ac:graphicFrameMkLst>
            <pc:docMk/>
            <pc:sldMk cId="1127904614" sldId="444"/>
            <ac:graphicFrameMk id="6" creationId="{1D062EA0-CDCF-48DC-6C73-3A9678449E30}"/>
          </ac:graphicFrameMkLst>
        </pc:graphicFrameChg>
        <pc:graphicFrameChg chg="mod modGraphic">
          <ac:chgData name="Ashwin Sunder" userId="0dc3bf7fb9413de4" providerId="LiveId" clId="{4AF140CF-3027-4683-B79B-0FBF16533509}" dt="2024-09-20T12:12:43.385" v="17658" actId="20577"/>
          <ac:graphicFrameMkLst>
            <pc:docMk/>
            <pc:sldMk cId="1127904614" sldId="444"/>
            <ac:graphicFrameMk id="8" creationId="{CFEA7E32-5540-926A-E681-ADDA9BC3778E}"/>
          </ac:graphicFrameMkLst>
        </pc:graphicFrameChg>
        <pc:picChg chg="add mod modCrop">
          <ac:chgData name="Ashwin Sunder" userId="0dc3bf7fb9413de4" providerId="LiveId" clId="{4AF140CF-3027-4683-B79B-0FBF16533509}" dt="2024-09-20T12:06:55.671" v="17641" actId="732"/>
          <ac:picMkLst>
            <pc:docMk/>
            <pc:sldMk cId="1127904614" sldId="444"/>
            <ac:picMk id="5" creationId="{2894849B-1E32-E7F9-FCC1-41B677F2CFC5}"/>
          </ac:picMkLst>
        </pc:picChg>
        <pc:picChg chg="add mod">
          <ac:chgData name="Ashwin Sunder" userId="0dc3bf7fb9413de4" providerId="LiveId" clId="{4AF140CF-3027-4683-B79B-0FBF16533509}" dt="2024-09-23T11:28:11.575" v="19027" actId="1076"/>
          <ac:picMkLst>
            <pc:docMk/>
            <pc:sldMk cId="1127904614" sldId="444"/>
            <ac:picMk id="7" creationId="{16E18A78-3679-8A1C-93A7-1F0D41B5E0A4}"/>
          </ac:picMkLst>
        </pc:picChg>
        <pc:picChg chg="add mod">
          <ac:chgData name="Ashwin Sunder" userId="0dc3bf7fb9413de4" providerId="LiveId" clId="{4AF140CF-3027-4683-B79B-0FBF16533509}" dt="2024-09-23T11:28:44.604" v="19032" actId="1076"/>
          <ac:picMkLst>
            <pc:docMk/>
            <pc:sldMk cId="1127904614" sldId="444"/>
            <ac:picMk id="9" creationId="{C727A5F3-ADE4-10C5-82BA-A4069C3374AA}"/>
          </ac:picMkLst>
        </pc:picChg>
        <pc:picChg chg="add mod modCrop">
          <ac:chgData name="Ashwin Sunder" userId="0dc3bf7fb9413de4" providerId="LiveId" clId="{4AF140CF-3027-4683-B79B-0FBF16533509}" dt="2024-09-20T12:07:17.728" v="17644" actId="1076"/>
          <ac:picMkLst>
            <pc:docMk/>
            <pc:sldMk cId="1127904614" sldId="444"/>
            <ac:picMk id="10" creationId="{41BB9D17-40C6-5977-AB21-DC5675A65CED}"/>
          </ac:picMkLst>
        </pc:picChg>
        <pc:picChg chg="add mod">
          <ac:chgData name="Ashwin Sunder" userId="0dc3bf7fb9413de4" providerId="LiveId" clId="{4AF140CF-3027-4683-B79B-0FBF16533509}" dt="2024-09-23T11:28:19.328" v="19028" actId="1076"/>
          <ac:picMkLst>
            <pc:docMk/>
            <pc:sldMk cId="1127904614" sldId="444"/>
            <ac:picMk id="13" creationId="{8809657D-204E-9748-2D0F-E4213929F835}"/>
          </ac:picMkLst>
        </pc:picChg>
        <pc:picChg chg="add mod">
          <ac:chgData name="Ashwin Sunder" userId="0dc3bf7fb9413de4" providerId="LiveId" clId="{4AF140CF-3027-4683-B79B-0FBF16533509}" dt="2024-09-23T11:28:51.905" v="19033" actId="1076"/>
          <ac:picMkLst>
            <pc:docMk/>
            <pc:sldMk cId="1127904614" sldId="444"/>
            <ac:picMk id="14" creationId="{77881BA4-51CC-6A0B-73C6-2322C6D121F1}"/>
          </ac:picMkLst>
        </pc:picChg>
      </pc:sldChg>
      <pc:sldChg chg="addSp delSp modSp add mod">
        <pc:chgData name="Ashwin Sunder" userId="0dc3bf7fb9413de4" providerId="LiveId" clId="{4AF140CF-3027-4683-B79B-0FBF16533509}" dt="2024-09-29T11:40:15.581" v="22215" actId="20577"/>
        <pc:sldMkLst>
          <pc:docMk/>
          <pc:sldMk cId="763122175" sldId="445"/>
        </pc:sldMkLst>
        <pc:spChg chg="mod">
          <ac:chgData name="Ashwin Sunder" userId="0dc3bf7fb9413de4" providerId="LiveId" clId="{4AF140CF-3027-4683-B79B-0FBF16533509}" dt="2024-09-06T11:03:38.319" v="8880" actId="20577"/>
          <ac:spMkLst>
            <pc:docMk/>
            <pc:sldMk cId="763122175" sldId="445"/>
            <ac:spMk id="4" creationId="{C394EA77-4737-FD1E-A05D-4B2E2F5578AB}"/>
          </ac:spMkLst>
        </pc:spChg>
        <pc:spChg chg="mod">
          <ac:chgData name="Ashwin Sunder" userId="0dc3bf7fb9413de4" providerId="LiveId" clId="{4AF140CF-3027-4683-B79B-0FBF16533509}" dt="2024-09-27T10:28:33.566" v="20721" actId="1076"/>
          <ac:spMkLst>
            <pc:docMk/>
            <pc:sldMk cId="763122175" sldId="445"/>
            <ac:spMk id="7" creationId="{3379DEE7-FB57-C60C-A33B-27D15882E962}"/>
          </ac:spMkLst>
        </pc:spChg>
        <pc:spChg chg="mod">
          <ac:chgData name="Ashwin Sunder" userId="0dc3bf7fb9413de4" providerId="LiveId" clId="{4AF140CF-3027-4683-B79B-0FBF16533509}" dt="2024-09-27T10:28:39.320" v="20722" actId="1076"/>
          <ac:spMkLst>
            <pc:docMk/>
            <pc:sldMk cId="763122175" sldId="445"/>
            <ac:spMk id="11" creationId="{2B6D0ABC-8DF9-F368-9A21-506E62BC29C1}"/>
          </ac:spMkLst>
        </pc:spChg>
        <pc:spChg chg="mod">
          <ac:chgData name="Ashwin Sunder" userId="0dc3bf7fb9413de4" providerId="LiveId" clId="{4AF140CF-3027-4683-B79B-0FBF16533509}" dt="2024-09-29T11:40:15.581" v="22215" actId="20577"/>
          <ac:spMkLst>
            <pc:docMk/>
            <pc:sldMk cId="763122175" sldId="445"/>
            <ac:spMk id="16" creationId="{2D8B4533-EFCF-B987-1E09-BE27CF4D839D}"/>
          </ac:spMkLst>
        </pc:spChg>
        <pc:picChg chg="del">
          <ac:chgData name="Ashwin Sunder" userId="0dc3bf7fb9413de4" providerId="LiveId" clId="{4AF140CF-3027-4683-B79B-0FBF16533509}" dt="2024-09-06T11:03:53.888" v="8881" actId="478"/>
          <ac:picMkLst>
            <pc:docMk/>
            <pc:sldMk cId="763122175" sldId="445"/>
            <ac:picMk id="3" creationId="{11B1B615-C00F-DA0E-5CA4-3EB3A661EA0D}"/>
          </ac:picMkLst>
        </pc:picChg>
        <pc:picChg chg="del">
          <ac:chgData name="Ashwin Sunder" userId="0dc3bf7fb9413de4" providerId="LiveId" clId="{4AF140CF-3027-4683-B79B-0FBF16533509}" dt="2024-09-06T11:05:38.805" v="8891" actId="478"/>
          <ac:picMkLst>
            <pc:docMk/>
            <pc:sldMk cId="763122175" sldId="445"/>
            <ac:picMk id="5" creationId="{4579F491-1519-1C9C-5F41-4C4DCA88FD50}"/>
          </ac:picMkLst>
        </pc:picChg>
        <pc:picChg chg="add mod modCrop">
          <ac:chgData name="Ashwin Sunder" userId="0dc3bf7fb9413de4" providerId="LiveId" clId="{4AF140CF-3027-4683-B79B-0FBF16533509}" dt="2024-09-27T10:28:24.245" v="20720" actId="1076"/>
          <ac:picMkLst>
            <pc:docMk/>
            <pc:sldMk cId="763122175" sldId="445"/>
            <ac:picMk id="5" creationId="{A61FB7CA-B284-B808-48ED-EF951347066B}"/>
          </ac:picMkLst>
        </pc:picChg>
        <pc:picChg chg="add del mod">
          <ac:chgData name="Ashwin Sunder" userId="0dc3bf7fb9413de4" providerId="LiveId" clId="{4AF140CF-3027-4683-B79B-0FBF16533509}" dt="2024-09-23T11:35:16.740" v="19041" actId="478"/>
          <ac:picMkLst>
            <pc:docMk/>
            <pc:sldMk cId="763122175" sldId="445"/>
            <ac:picMk id="6" creationId="{338A788B-76EC-EF92-588E-4119CCA95533}"/>
          </ac:picMkLst>
        </pc:picChg>
        <pc:picChg chg="add del mod">
          <ac:chgData name="Ashwin Sunder" userId="0dc3bf7fb9413de4" providerId="LiveId" clId="{4AF140CF-3027-4683-B79B-0FBF16533509}" dt="2024-09-23T11:35:56.092" v="19046" actId="478"/>
          <ac:picMkLst>
            <pc:docMk/>
            <pc:sldMk cId="763122175" sldId="445"/>
            <ac:picMk id="8" creationId="{597B0889-E922-DB62-54E3-2FE9F5ACA0F4}"/>
          </ac:picMkLst>
        </pc:picChg>
        <pc:picChg chg="add mod modCrop">
          <ac:chgData name="Ashwin Sunder" userId="0dc3bf7fb9413de4" providerId="LiveId" clId="{4AF140CF-3027-4683-B79B-0FBF16533509}" dt="2024-09-27T10:28:16.417" v="20719" actId="14100"/>
          <ac:picMkLst>
            <pc:docMk/>
            <pc:sldMk cId="763122175" sldId="445"/>
            <ac:picMk id="10" creationId="{45A46638-F6D6-FC88-B47E-DC2D5A5E3FE2}"/>
          </ac:picMkLst>
        </pc:picChg>
      </pc:sldChg>
      <pc:sldChg chg="addSp delSp modSp add mod">
        <pc:chgData name="Ashwin Sunder" userId="0dc3bf7fb9413de4" providerId="LiveId" clId="{4AF140CF-3027-4683-B79B-0FBF16533509}" dt="2024-09-29T11:32:30.889" v="22213" actId="20577"/>
        <pc:sldMkLst>
          <pc:docMk/>
          <pc:sldMk cId="299160942" sldId="446"/>
        </pc:sldMkLst>
        <pc:spChg chg="mod">
          <ac:chgData name="Ashwin Sunder" userId="0dc3bf7fb9413de4" providerId="LiveId" clId="{4AF140CF-3027-4683-B79B-0FBF16533509}" dt="2024-09-27T10:31:35.203" v="20737" actId="1076"/>
          <ac:spMkLst>
            <pc:docMk/>
            <pc:sldMk cId="299160942" sldId="446"/>
            <ac:spMk id="7" creationId="{3379DEE7-FB57-C60C-A33B-27D15882E962}"/>
          </ac:spMkLst>
        </pc:spChg>
        <pc:spChg chg="mod">
          <ac:chgData name="Ashwin Sunder" userId="0dc3bf7fb9413de4" providerId="LiveId" clId="{4AF140CF-3027-4683-B79B-0FBF16533509}" dt="2024-09-27T10:31:40.828" v="20738" actId="1076"/>
          <ac:spMkLst>
            <pc:docMk/>
            <pc:sldMk cId="299160942" sldId="446"/>
            <ac:spMk id="11" creationId="{2B6D0ABC-8DF9-F368-9A21-506E62BC29C1}"/>
          </ac:spMkLst>
        </pc:spChg>
        <pc:spChg chg="mod">
          <ac:chgData name="Ashwin Sunder" userId="0dc3bf7fb9413de4" providerId="LiveId" clId="{4AF140CF-3027-4683-B79B-0FBF16533509}" dt="2024-09-29T11:32:30.889" v="22213" actId="20577"/>
          <ac:spMkLst>
            <pc:docMk/>
            <pc:sldMk cId="299160942" sldId="446"/>
            <ac:spMk id="16" creationId="{2D8B4533-EFCF-B987-1E09-BE27CF4D839D}"/>
          </ac:spMkLst>
        </pc:spChg>
        <pc:picChg chg="add del mod modCrop">
          <ac:chgData name="Ashwin Sunder" userId="0dc3bf7fb9413de4" providerId="LiveId" clId="{4AF140CF-3027-4683-B79B-0FBF16533509}" dt="2024-09-23T11:39:24.762" v="19059" actId="478"/>
          <ac:picMkLst>
            <pc:docMk/>
            <pc:sldMk cId="299160942" sldId="446"/>
            <ac:picMk id="3" creationId="{7A5A8AD9-5949-AAAA-BFB1-5DA4DE73AE16}"/>
          </ac:picMkLst>
        </pc:picChg>
        <pc:picChg chg="add del mod modCrop">
          <ac:chgData name="Ashwin Sunder" userId="0dc3bf7fb9413de4" providerId="LiveId" clId="{4AF140CF-3027-4683-B79B-0FBF16533509}" dt="2024-09-23T11:40:17.981" v="19070" actId="478"/>
          <ac:picMkLst>
            <pc:docMk/>
            <pc:sldMk cId="299160942" sldId="446"/>
            <ac:picMk id="5" creationId="{1D953D0B-0AD9-759A-4FA6-0B872B1658B1}"/>
          </ac:picMkLst>
        </pc:picChg>
        <pc:picChg chg="del">
          <ac:chgData name="Ashwin Sunder" userId="0dc3bf7fb9413de4" providerId="LiveId" clId="{4AF140CF-3027-4683-B79B-0FBF16533509}" dt="2024-09-06T11:47:26.756" v="9767" actId="478"/>
          <ac:picMkLst>
            <pc:docMk/>
            <pc:sldMk cId="299160942" sldId="446"/>
            <ac:picMk id="6" creationId="{338A788B-76EC-EF92-588E-4119CCA95533}"/>
          </ac:picMkLst>
        </pc:picChg>
        <pc:picChg chg="del">
          <ac:chgData name="Ashwin Sunder" userId="0dc3bf7fb9413de4" providerId="LiveId" clId="{4AF140CF-3027-4683-B79B-0FBF16533509}" dt="2024-09-06T11:48:06.675" v="9775" actId="478"/>
          <ac:picMkLst>
            <pc:docMk/>
            <pc:sldMk cId="299160942" sldId="446"/>
            <ac:picMk id="8" creationId="{597B0889-E922-DB62-54E3-2FE9F5ACA0F4}"/>
          </ac:picMkLst>
        </pc:picChg>
        <pc:picChg chg="add mod modCrop">
          <ac:chgData name="Ashwin Sunder" userId="0dc3bf7fb9413de4" providerId="LiveId" clId="{4AF140CF-3027-4683-B79B-0FBF16533509}" dt="2024-09-27T10:31:04.638" v="20733" actId="14100"/>
          <ac:picMkLst>
            <pc:docMk/>
            <pc:sldMk cId="299160942" sldId="446"/>
            <ac:picMk id="8" creationId="{6FE9E489-1E61-3AB2-5C5C-244A102018EC}"/>
          </ac:picMkLst>
        </pc:picChg>
        <pc:picChg chg="add mod modCrop">
          <ac:chgData name="Ashwin Sunder" userId="0dc3bf7fb9413de4" providerId="LiveId" clId="{4AF140CF-3027-4683-B79B-0FBF16533509}" dt="2024-09-27T10:31:20.165" v="20736" actId="732"/>
          <ac:picMkLst>
            <pc:docMk/>
            <pc:sldMk cId="299160942" sldId="446"/>
            <ac:picMk id="10" creationId="{0576A20F-2ED0-52A0-0EFA-48EDBD8FAC03}"/>
          </ac:picMkLst>
        </pc:picChg>
      </pc:sldChg>
      <pc:sldChg chg="add">
        <pc:chgData name="Ashwin Sunder" userId="0dc3bf7fb9413de4" providerId="LiveId" clId="{4AF140CF-3027-4683-B79B-0FBF16533509}" dt="2024-09-27T10:34:15.978" v="20745"/>
        <pc:sldMkLst>
          <pc:docMk/>
          <pc:sldMk cId="1139532724" sldId="447"/>
        </pc:sldMkLst>
      </pc:sldChg>
      <pc:sldChg chg="addSp delSp modSp add del mod">
        <pc:chgData name="Ashwin Sunder" userId="0dc3bf7fb9413de4" providerId="LiveId" clId="{4AF140CF-3027-4683-B79B-0FBF16533509}" dt="2024-09-27T10:34:11.516" v="20744" actId="2696"/>
        <pc:sldMkLst>
          <pc:docMk/>
          <pc:sldMk cId="2734841262" sldId="447"/>
        </pc:sldMkLst>
        <pc:spChg chg="mod">
          <ac:chgData name="Ashwin Sunder" userId="0dc3bf7fb9413de4" providerId="LiveId" clId="{4AF140CF-3027-4683-B79B-0FBF16533509}" dt="2024-09-09T08:59:39.909" v="10848" actId="20577"/>
          <ac:spMkLst>
            <pc:docMk/>
            <pc:sldMk cId="2734841262" sldId="447"/>
            <ac:spMk id="2" creationId="{7538ED40-9917-A294-BEA6-82CFEB6E3517}"/>
          </ac:spMkLst>
        </pc:spChg>
        <pc:graphicFrameChg chg="modGraphic">
          <ac:chgData name="Ashwin Sunder" userId="0dc3bf7fb9413de4" providerId="LiveId" clId="{4AF140CF-3027-4683-B79B-0FBF16533509}" dt="2024-09-23T11:50:02.689" v="19086" actId="2164"/>
          <ac:graphicFrameMkLst>
            <pc:docMk/>
            <pc:sldMk cId="2734841262" sldId="447"/>
            <ac:graphicFrameMk id="3" creationId="{59C44DD7-90E7-032D-1782-73777BDBC76E}"/>
          </ac:graphicFrameMkLst>
        </pc:graphicFrameChg>
        <pc:graphicFrameChg chg="modGraphic">
          <ac:chgData name="Ashwin Sunder" userId="0dc3bf7fb9413de4" providerId="LiveId" clId="{4AF140CF-3027-4683-B79B-0FBF16533509}" dt="2024-09-09T09:00:39.047" v="10871" actId="20577"/>
          <ac:graphicFrameMkLst>
            <pc:docMk/>
            <pc:sldMk cId="2734841262" sldId="447"/>
            <ac:graphicFrameMk id="5" creationId="{BEC95736-68F9-86F5-81A5-CC83ADB16DE8}"/>
          </ac:graphicFrameMkLst>
        </pc:graphicFrameChg>
        <pc:graphicFrameChg chg="modGraphic">
          <ac:chgData name="Ashwin Sunder" userId="0dc3bf7fb9413de4" providerId="LiveId" clId="{4AF140CF-3027-4683-B79B-0FBF16533509}" dt="2024-09-09T09:01:12.482" v="10904" actId="20577"/>
          <ac:graphicFrameMkLst>
            <pc:docMk/>
            <pc:sldMk cId="2734841262" sldId="447"/>
            <ac:graphicFrameMk id="6" creationId="{1D062EA0-CDCF-48DC-6C73-3A9678449E30}"/>
          </ac:graphicFrameMkLst>
        </pc:graphicFrameChg>
        <pc:picChg chg="del">
          <ac:chgData name="Ashwin Sunder" userId="0dc3bf7fb9413de4" providerId="LiveId" clId="{4AF140CF-3027-4683-B79B-0FBF16533509}" dt="2024-09-09T09:04:50.424" v="10922" actId="478"/>
          <ac:picMkLst>
            <pc:docMk/>
            <pc:sldMk cId="2734841262" sldId="447"/>
            <ac:picMk id="7" creationId="{CB07E391-A002-6312-00F0-22C80924620B}"/>
          </ac:picMkLst>
        </pc:picChg>
        <pc:picChg chg="add mod modCrop">
          <ac:chgData name="Ashwin Sunder" userId="0dc3bf7fb9413de4" providerId="LiveId" clId="{4AF140CF-3027-4683-B79B-0FBF16533509}" dt="2024-09-09T09:05:39.514" v="10933" actId="1076"/>
          <ac:picMkLst>
            <pc:docMk/>
            <pc:sldMk cId="2734841262" sldId="447"/>
            <ac:picMk id="9" creationId="{91946099-E171-63B0-25D8-A84853582097}"/>
          </ac:picMkLst>
        </pc:picChg>
      </pc:sldChg>
      <pc:sldChg chg="addSp delSp modSp add mod modAnim">
        <pc:chgData name="Ashwin Sunder" userId="0dc3bf7fb9413de4" providerId="LiveId" clId="{4AF140CF-3027-4683-B79B-0FBF16533509}" dt="2024-09-29T11:52:01.842" v="22217"/>
        <pc:sldMkLst>
          <pc:docMk/>
          <pc:sldMk cId="2284951662" sldId="448"/>
        </pc:sldMkLst>
        <pc:spChg chg="mod">
          <ac:chgData name="Ashwin Sunder" userId="0dc3bf7fb9413de4" providerId="LiveId" clId="{4AF140CF-3027-4683-B79B-0FBF16533509}" dt="2024-09-09T09:08:29.490" v="10948" actId="20577"/>
          <ac:spMkLst>
            <pc:docMk/>
            <pc:sldMk cId="2284951662" sldId="448"/>
            <ac:spMk id="2" creationId="{7538ED40-9917-A294-BEA6-82CFEB6E3517}"/>
          </ac:spMkLst>
        </pc:spChg>
        <pc:spChg chg="mod">
          <ac:chgData name="Ashwin Sunder" userId="0dc3bf7fb9413de4" providerId="LiveId" clId="{4AF140CF-3027-4683-B79B-0FBF16533509}" dt="2024-09-19T11:04:00.171" v="15057" actId="1076"/>
          <ac:spMkLst>
            <pc:docMk/>
            <pc:sldMk cId="2284951662" sldId="448"/>
            <ac:spMk id="3" creationId="{26FCEC27-32FC-CCF3-2DCC-2BF6662188B8}"/>
          </ac:spMkLst>
        </pc:spChg>
        <pc:spChg chg="add mod">
          <ac:chgData name="Ashwin Sunder" userId="0dc3bf7fb9413de4" providerId="LiveId" clId="{4AF140CF-3027-4683-B79B-0FBF16533509}" dt="2024-09-19T11:03:55.138" v="15056" actId="1076"/>
          <ac:spMkLst>
            <pc:docMk/>
            <pc:sldMk cId="2284951662" sldId="448"/>
            <ac:spMk id="5" creationId="{0C337AE4-3B27-2002-2A2F-0EBCEEFDB440}"/>
          </ac:spMkLst>
        </pc:spChg>
        <pc:spChg chg="del">
          <ac:chgData name="Ashwin Sunder" userId="0dc3bf7fb9413de4" providerId="LiveId" clId="{4AF140CF-3027-4683-B79B-0FBF16533509}" dt="2024-09-09T09:13:17.022" v="11125" actId="478"/>
          <ac:spMkLst>
            <pc:docMk/>
            <pc:sldMk cId="2284951662" sldId="448"/>
            <ac:spMk id="7" creationId="{900E6F88-59D5-4D33-2580-A318129BF74E}"/>
          </ac:spMkLst>
        </pc:spChg>
        <pc:spChg chg="del">
          <ac:chgData name="Ashwin Sunder" userId="0dc3bf7fb9413de4" providerId="LiveId" clId="{4AF140CF-3027-4683-B79B-0FBF16533509}" dt="2024-09-09T09:13:14.803" v="11124" actId="478"/>
          <ac:spMkLst>
            <pc:docMk/>
            <pc:sldMk cId="2284951662" sldId="448"/>
            <ac:spMk id="9" creationId="{0405D0F2-3EA2-B718-DCD2-0D22586BB468}"/>
          </ac:spMkLst>
        </pc:spChg>
        <pc:spChg chg="add mod">
          <ac:chgData name="Ashwin Sunder" userId="0dc3bf7fb9413de4" providerId="LiveId" clId="{4AF140CF-3027-4683-B79B-0FBF16533509}" dt="2024-09-20T12:18:12.861" v="17717" actId="20577"/>
          <ac:spMkLst>
            <pc:docMk/>
            <pc:sldMk cId="2284951662" sldId="448"/>
            <ac:spMk id="14" creationId="{17F83212-E0C8-C381-F099-B0C3144B00E8}"/>
          </ac:spMkLst>
        </pc:spChg>
        <pc:spChg chg="add mod">
          <ac:chgData name="Ashwin Sunder" userId="0dc3bf7fb9413de4" providerId="LiveId" clId="{4AF140CF-3027-4683-B79B-0FBF16533509}" dt="2024-09-20T12:19:51.525" v="17765" actId="20577"/>
          <ac:spMkLst>
            <pc:docMk/>
            <pc:sldMk cId="2284951662" sldId="448"/>
            <ac:spMk id="15" creationId="{1413AFCE-1563-98EB-43AF-164B61A54FFA}"/>
          </ac:spMkLst>
        </pc:spChg>
        <pc:spChg chg="add mod">
          <ac:chgData name="Ashwin Sunder" userId="0dc3bf7fb9413de4" providerId="LiveId" clId="{4AF140CF-3027-4683-B79B-0FBF16533509}" dt="2024-09-20T12:19:34.733" v="17748" actId="20577"/>
          <ac:spMkLst>
            <pc:docMk/>
            <pc:sldMk cId="2284951662" sldId="448"/>
            <ac:spMk id="16" creationId="{FFA972B3-BA2B-AD83-72F7-9A7CF94CAAE5}"/>
          </ac:spMkLst>
        </pc:spChg>
        <pc:spChg chg="add mod">
          <ac:chgData name="Ashwin Sunder" userId="0dc3bf7fb9413de4" providerId="LiveId" clId="{4AF140CF-3027-4683-B79B-0FBF16533509}" dt="2024-09-20T12:19:58.335" v="17767" actId="20577"/>
          <ac:spMkLst>
            <pc:docMk/>
            <pc:sldMk cId="2284951662" sldId="448"/>
            <ac:spMk id="17" creationId="{033B471C-C298-758B-5BE9-C0A8338866D8}"/>
          </ac:spMkLst>
        </pc:spChg>
        <pc:spChg chg="add mod">
          <ac:chgData name="Ashwin Sunder" userId="0dc3bf7fb9413de4" providerId="LiveId" clId="{4AF140CF-3027-4683-B79B-0FBF16533509}" dt="2024-09-20T12:19:40.291" v="17752" actId="20577"/>
          <ac:spMkLst>
            <pc:docMk/>
            <pc:sldMk cId="2284951662" sldId="448"/>
            <ac:spMk id="18" creationId="{4A174523-1552-B46E-2E05-71BFFE537102}"/>
          </ac:spMkLst>
        </pc:spChg>
        <pc:spChg chg="add mod">
          <ac:chgData name="Ashwin Sunder" userId="0dc3bf7fb9413de4" providerId="LiveId" clId="{4AF140CF-3027-4683-B79B-0FBF16533509}" dt="2024-09-20T12:20:04.320" v="17770" actId="20577"/>
          <ac:spMkLst>
            <pc:docMk/>
            <pc:sldMk cId="2284951662" sldId="448"/>
            <ac:spMk id="19" creationId="{77D461CA-813E-DC8F-EF80-CF750716F971}"/>
          </ac:spMkLst>
        </pc:spChg>
        <pc:graphicFrameChg chg="mod modGraphic">
          <ac:chgData name="Ashwin Sunder" userId="0dc3bf7fb9413de4" providerId="LiveId" clId="{4AF140CF-3027-4683-B79B-0FBF16533509}" dt="2024-09-09T09:11:43.583" v="11094" actId="14734"/>
          <ac:graphicFrameMkLst>
            <pc:docMk/>
            <pc:sldMk cId="2284951662" sldId="448"/>
            <ac:graphicFrameMk id="6" creationId="{1D062EA0-CDCF-48DC-6C73-3A9678449E30}"/>
          </ac:graphicFrameMkLst>
        </pc:graphicFrameChg>
        <pc:graphicFrameChg chg="mod modGraphic">
          <ac:chgData name="Ashwin Sunder" userId="0dc3bf7fb9413de4" providerId="LiveId" clId="{4AF140CF-3027-4683-B79B-0FBF16533509}" dt="2024-09-09T09:23:24.500" v="11280" actId="20577"/>
          <ac:graphicFrameMkLst>
            <pc:docMk/>
            <pc:sldMk cId="2284951662" sldId="448"/>
            <ac:graphicFrameMk id="8" creationId="{CFEA7E32-5540-926A-E681-ADDA9BC3778E}"/>
          </ac:graphicFrameMkLst>
        </pc:graphicFrameChg>
        <pc:picChg chg="add mod">
          <ac:chgData name="Ashwin Sunder" userId="0dc3bf7fb9413de4" providerId="LiveId" clId="{4AF140CF-3027-4683-B79B-0FBF16533509}" dt="2024-09-20T12:14:39.649" v="17661" actId="14100"/>
          <ac:picMkLst>
            <pc:docMk/>
            <pc:sldMk cId="2284951662" sldId="448"/>
            <ac:picMk id="7" creationId="{54AC6D48-3183-335B-ACAD-637506638CA8}"/>
          </ac:picMkLst>
        </pc:picChg>
        <pc:picChg chg="add mod">
          <ac:chgData name="Ashwin Sunder" userId="0dc3bf7fb9413de4" providerId="LiveId" clId="{4AF140CF-3027-4683-B79B-0FBF16533509}" dt="2024-09-20T12:14:42.625" v="17662" actId="14100"/>
          <ac:picMkLst>
            <pc:docMk/>
            <pc:sldMk cId="2284951662" sldId="448"/>
            <ac:picMk id="9" creationId="{D38CB59A-F4AA-8133-6F3E-05EED95CE718}"/>
          </ac:picMkLst>
        </pc:picChg>
        <pc:picChg chg="add mod">
          <ac:chgData name="Ashwin Sunder" userId="0dc3bf7fb9413de4" providerId="LiveId" clId="{4AF140CF-3027-4683-B79B-0FBF16533509}" dt="2024-09-20T12:14:44.981" v="17663" actId="14100"/>
          <ac:picMkLst>
            <pc:docMk/>
            <pc:sldMk cId="2284951662" sldId="448"/>
            <ac:picMk id="10" creationId="{01914404-60C9-998F-8B6A-02879FE9DA32}"/>
          </ac:picMkLst>
        </pc:picChg>
        <pc:picChg chg="add mod">
          <ac:chgData name="Ashwin Sunder" userId="0dc3bf7fb9413de4" providerId="LiveId" clId="{4AF140CF-3027-4683-B79B-0FBF16533509}" dt="2024-09-20T12:14:47.194" v="17664" actId="14100"/>
          <ac:picMkLst>
            <pc:docMk/>
            <pc:sldMk cId="2284951662" sldId="448"/>
            <ac:picMk id="11" creationId="{DA24F406-E471-7FFC-9B80-A2E5775CE448}"/>
          </ac:picMkLst>
        </pc:picChg>
        <pc:picChg chg="add mod">
          <ac:chgData name="Ashwin Sunder" userId="0dc3bf7fb9413de4" providerId="LiveId" clId="{4AF140CF-3027-4683-B79B-0FBF16533509}" dt="2024-09-20T12:14:49.276" v="17665" actId="14100"/>
          <ac:picMkLst>
            <pc:docMk/>
            <pc:sldMk cId="2284951662" sldId="448"/>
            <ac:picMk id="12" creationId="{1C30E3E4-DE45-D599-2801-2FAD1061A64B}"/>
          </ac:picMkLst>
        </pc:picChg>
        <pc:picChg chg="add mod">
          <ac:chgData name="Ashwin Sunder" userId="0dc3bf7fb9413de4" providerId="LiveId" clId="{4AF140CF-3027-4683-B79B-0FBF16533509}" dt="2024-09-20T12:14:50.956" v="17666" actId="14100"/>
          <ac:picMkLst>
            <pc:docMk/>
            <pc:sldMk cId="2284951662" sldId="448"/>
            <ac:picMk id="13" creationId="{45EDA2B6-E6F7-9ECE-2F98-098C97BD7CD3}"/>
          </ac:picMkLst>
        </pc:picChg>
        <pc:picChg chg="add mod">
          <ac:chgData name="Ashwin Sunder" userId="0dc3bf7fb9413de4" providerId="LiveId" clId="{4AF140CF-3027-4683-B79B-0FBF16533509}" dt="2024-09-20T12:21:40.770" v="17775" actId="571"/>
          <ac:picMkLst>
            <pc:docMk/>
            <pc:sldMk cId="2284951662" sldId="448"/>
            <ac:picMk id="20" creationId="{CFEFCAE6-231E-2851-176F-6CB687A2AF2D}"/>
          </ac:picMkLst>
        </pc:picChg>
        <pc:picChg chg="add mod">
          <ac:chgData name="Ashwin Sunder" userId="0dc3bf7fb9413de4" providerId="LiveId" clId="{4AF140CF-3027-4683-B79B-0FBF16533509}" dt="2024-09-20T12:21:40.770" v="17775" actId="571"/>
          <ac:picMkLst>
            <pc:docMk/>
            <pc:sldMk cId="2284951662" sldId="448"/>
            <ac:picMk id="21" creationId="{BF14B6C4-B5F5-80EC-61F0-CF068B2AAF6A}"/>
          </ac:picMkLst>
        </pc:picChg>
      </pc:sldChg>
      <pc:sldChg chg="addSp delSp modSp add mod">
        <pc:chgData name="Ashwin Sunder" userId="0dc3bf7fb9413de4" providerId="LiveId" clId="{4AF140CF-3027-4683-B79B-0FBF16533509}" dt="2024-09-29T11:57:41.418" v="22222" actId="20577"/>
        <pc:sldMkLst>
          <pc:docMk/>
          <pc:sldMk cId="3714187502" sldId="449"/>
        </pc:sldMkLst>
        <pc:spChg chg="mod">
          <ac:chgData name="Ashwin Sunder" userId="0dc3bf7fb9413de4" providerId="LiveId" clId="{4AF140CF-3027-4683-B79B-0FBF16533509}" dt="2024-09-09T09:23:51.075" v="11293" actId="20577"/>
          <ac:spMkLst>
            <pc:docMk/>
            <pc:sldMk cId="3714187502" sldId="449"/>
            <ac:spMk id="2" creationId="{7538ED40-9917-A294-BEA6-82CFEB6E3517}"/>
          </ac:spMkLst>
        </pc:spChg>
        <pc:spChg chg="mod">
          <ac:chgData name="Ashwin Sunder" userId="0dc3bf7fb9413de4" providerId="LiveId" clId="{4AF140CF-3027-4683-B79B-0FBF16533509}" dt="2024-09-09T09:23:54.676" v="11294" actId="20577"/>
          <ac:spMkLst>
            <pc:docMk/>
            <pc:sldMk cId="3714187502" sldId="449"/>
            <ac:spMk id="4" creationId="{C394EA77-4737-FD1E-A05D-4B2E2F5578AB}"/>
          </ac:spMkLst>
        </pc:spChg>
        <pc:spChg chg="mod">
          <ac:chgData name="Ashwin Sunder" userId="0dc3bf7fb9413de4" providerId="LiveId" clId="{4AF140CF-3027-4683-B79B-0FBF16533509}" dt="2024-09-27T10:42:55.480" v="20888" actId="1076"/>
          <ac:spMkLst>
            <pc:docMk/>
            <pc:sldMk cId="3714187502" sldId="449"/>
            <ac:spMk id="7" creationId="{3379DEE7-FB57-C60C-A33B-27D15882E962}"/>
          </ac:spMkLst>
        </pc:spChg>
        <pc:spChg chg="mod">
          <ac:chgData name="Ashwin Sunder" userId="0dc3bf7fb9413de4" providerId="LiveId" clId="{4AF140CF-3027-4683-B79B-0FBF16533509}" dt="2024-09-27T10:43:13.523" v="20893" actId="1076"/>
          <ac:spMkLst>
            <pc:docMk/>
            <pc:sldMk cId="3714187502" sldId="449"/>
            <ac:spMk id="11" creationId="{2B6D0ABC-8DF9-F368-9A21-506E62BC29C1}"/>
          </ac:spMkLst>
        </pc:spChg>
        <pc:spChg chg="mod">
          <ac:chgData name="Ashwin Sunder" userId="0dc3bf7fb9413de4" providerId="LiveId" clId="{4AF140CF-3027-4683-B79B-0FBF16533509}" dt="2024-09-29T11:57:41.418" v="22222" actId="20577"/>
          <ac:spMkLst>
            <pc:docMk/>
            <pc:sldMk cId="3714187502" sldId="449"/>
            <ac:spMk id="16" creationId="{2D8B4533-EFCF-B987-1E09-BE27CF4D839D}"/>
          </ac:spMkLst>
        </pc:spChg>
        <pc:picChg chg="del">
          <ac:chgData name="Ashwin Sunder" userId="0dc3bf7fb9413de4" providerId="LiveId" clId="{4AF140CF-3027-4683-B79B-0FBF16533509}" dt="2024-09-09T09:21:23.766" v="11210" actId="478"/>
          <ac:picMkLst>
            <pc:docMk/>
            <pc:sldMk cId="3714187502" sldId="449"/>
            <ac:picMk id="3" creationId="{180969C9-39B1-9F81-3C01-C98FF62A54AF}"/>
          </ac:picMkLst>
        </pc:picChg>
        <pc:picChg chg="add mod modCrop">
          <ac:chgData name="Ashwin Sunder" userId="0dc3bf7fb9413de4" providerId="LiveId" clId="{4AF140CF-3027-4683-B79B-0FBF16533509}" dt="2024-09-27T10:43:31.392" v="20895" actId="1076"/>
          <ac:picMkLst>
            <pc:docMk/>
            <pc:sldMk cId="3714187502" sldId="449"/>
            <ac:picMk id="5" creationId="{34FE048A-7163-9097-00F1-4DD3A6A0F845}"/>
          </ac:picMkLst>
        </pc:picChg>
        <pc:picChg chg="del">
          <ac:chgData name="Ashwin Sunder" userId="0dc3bf7fb9413de4" providerId="LiveId" clId="{4AF140CF-3027-4683-B79B-0FBF16533509}" dt="2024-09-09T09:21:53.451" v="11216" actId="478"/>
          <ac:picMkLst>
            <pc:docMk/>
            <pc:sldMk cId="3714187502" sldId="449"/>
            <ac:picMk id="5" creationId="{B21C3A98-29CA-AAE7-E78E-047BC469E3D7}"/>
          </ac:picMkLst>
        </pc:picChg>
        <pc:picChg chg="add del mod">
          <ac:chgData name="Ashwin Sunder" userId="0dc3bf7fb9413de4" providerId="LiveId" clId="{4AF140CF-3027-4683-B79B-0FBF16533509}" dt="2024-09-23T11:54:39.050" v="19090" actId="478"/>
          <ac:picMkLst>
            <pc:docMk/>
            <pc:sldMk cId="3714187502" sldId="449"/>
            <ac:picMk id="6" creationId="{B3A69901-73DD-265B-A635-9AD760C6E1B1}"/>
          </ac:picMkLst>
        </pc:picChg>
        <pc:picChg chg="add del mod">
          <ac:chgData name="Ashwin Sunder" userId="0dc3bf7fb9413de4" providerId="LiveId" clId="{4AF140CF-3027-4683-B79B-0FBF16533509}" dt="2024-09-23T11:56:18.446" v="19105" actId="478"/>
          <ac:picMkLst>
            <pc:docMk/>
            <pc:sldMk cId="3714187502" sldId="449"/>
            <ac:picMk id="8" creationId="{ADED2E75-A398-CFFF-ED00-80F147313261}"/>
          </ac:picMkLst>
        </pc:picChg>
        <pc:picChg chg="add mod modCrop">
          <ac:chgData name="Ashwin Sunder" userId="0dc3bf7fb9413de4" providerId="LiveId" clId="{4AF140CF-3027-4683-B79B-0FBF16533509}" dt="2024-09-27T10:43:25.621" v="20894" actId="1076"/>
          <ac:picMkLst>
            <pc:docMk/>
            <pc:sldMk cId="3714187502" sldId="449"/>
            <ac:picMk id="10" creationId="{5C632716-1D4C-2D93-CEC8-A26F5476B072}"/>
          </ac:picMkLst>
        </pc:picChg>
      </pc:sldChg>
      <pc:sldChg chg="add del">
        <pc:chgData name="Ashwin Sunder" userId="0dc3bf7fb9413de4" providerId="LiveId" clId="{4AF140CF-3027-4683-B79B-0FBF16533509}" dt="2024-09-30T10:40:14.422" v="22418" actId="47"/>
        <pc:sldMkLst>
          <pc:docMk/>
          <pc:sldMk cId="3120086831" sldId="450"/>
        </pc:sldMkLst>
      </pc:sldChg>
      <pc:sldChg chg="delSp modSp new del mod">
        <pc:chgData name="Ashwin Sunder" userId="0dc3bf7fb9413de4" providerId="LiveId" clId="{4AF140CF-3027-4683-B79B-0FBF16533509}" dt="2024-09-29T08:59:47.122" v="21881" actId="2696"/>
        <pc:sldMkLst>
          <pc:docMk/>
          <pc:sldMk cId="3592454405" sldId="450"/>
        </pc:sldMkLst>
        <pc:spChg chg="mod">
          <ac:chgData name="Ashwin Sunder" userId="0dc3bf7fb9413de4" providerId="LiveId" clId="{4AF140CF-3027-4683-B79B-0FBF16533509}" dt="2024-09-09T11:14:54.750" v="12554" actId="1076"/>
          <ac:spMkLst>
            <pc:docMk/>
            <pc:sldMk cId="3592454405" sldId="450"/>
            <ac:spMk id="2" creationId="{366A9939-4BB7-9C97-016B-D17F42A064A1}"/>
          </ac:spMkLst>
        </pc:spChg>
        <pc:spChg chg="mod">
          <ac:chgData name="Ashwin Sunder" userId="0dc3bf7fb9413de4" providerId="LiveId" clId="{4AF140CF-3027-4683-B79B-0FBF16533509}" dt="2024-09-27T10:50:16.015" v="20903" actId="14100"/>
          <ac:spMkLst>
            <pc:docMk/>
            <pc:sldMk cId="3592454405" sldId="450"/>
            <ac:spMk id="3" creationId="{2EAB2D1D-D127-2598-B2C5-963A73647BA6}"/>
          </ac:spMkLst>
        </pc:spChg>
        <pc:spChg chg="del">
          <ac:chgData name="Ashwin Sunder" userId="0dc3bf7fb9413de4" providerId="LiveId" clId="{4AF140CF-3027-4683-B79B-0FBF16533509}" dt="2024-09-09T10:14:47.832" v="12140" actId="478"/>
          <ac:spMkLst>
            <pc:docMk/>
            <pc:sldMk cId="3592454405" sldId="450"/>
            <ac:spMk id="4" creationId="{BFEACD7D-4486-E64D-13E8-AA2A24BFD0C1}"/>
          </ac:spMkLst>
        </pc:spChg>
      </pc:sldChg>
      <pc:sldChg chg="modSp add del mod modAnim">
        <pc:chgData name="Ashwin Sunder" userId="0dc3bf7fb9413de4" providerId="LiveId" clId="{4AF140CF-3027-4683-B79B-0FBF16533509}" dt="2024-09-29T08:59:47.122" v="21881" actId="2696"/>
        <pc:sldMkLst>
          <pc:docMk/>
          <pc:sldMk cId="1166900664" sldId="451"/>
        </pc:sldMkLst>
        <pc:spChg chg="mod">
          <ac:chgData name="Ashwin Sunder" userId="0dc3bf7fb9413de4" providerId="LiveId" clId="{4AF140CF-3027-4683-B79B-0FBF16533509}" dt="2024-09-27T10:51:21.631" v="20917" actId="2711"/>
          <ac:spMkLst>
            <pc:docMk/>
            <pc:sldMk cId="1166900664" sldId="451"/>
            <ac:spMk id="3" creationId="{2EAB2D1D-D127-2598-B2C5-963A73647BA6}"/>
          </ac:spMkLst>
        </pc:spChg>
      </pc:sldChg>
      <pc:sldChg chg="add del">
        <pc:chgData name="Ashwin Sunder" userId="0dc3bf7fb9413de4" providerId="LiveId" clId="{4AF140CF-3027-4683-B79B-0FBF16533509}" dt="2024-09-30T10:40:14.422" v="22418" actId="47"/>
        <pc:sldMkLst>
          <pc:docMk/>
          <pc:sldMk cId="2394702258" sldId="451"/>
        </pc:sldMkLst>
      </pc:sldChg>
      <pc:sldChg chg="addSp delSp modSp add mod ord delAnim modAnim">
        <pc:chgData name="Ashwin Sunder" userId="0dc3bf7fb9413de4" providerId="LiveId" clId="{4AF140CF-3027-4683-B79B-0FBF16533509}" dt="2024-09-28T11:07:15.582" v="21205"/>
        <pc:sldMkLst>
          <pc:docMk/>
          <pc:sldMk cId="513286463" sldId="452"/>
        </pc:sldMkLst>
        <pc:spChg chg="mod">
          <ac:chgData name="Ashwin Sunder" userId="0dc3bf7fb9413de4" providerId="LiveId" clId="{4AF140CF-3027-4683-B79B-0FBF16533509}" dt="2024-09-28T09:01:07.430" v="21175" actId="20577"/>
          <ac:spMkLst>
            <pc:docMk/>
            <pc:sldMk cId="513286463" sldId="452"/>
            <ac:spMk id="3" creationId="{D307151D-F263-394D-F924-45A162A2DC29}"/>
          </ac:spMkLst>
        </pc:spChg>
        <pc:spChg chg="mod">
          <ac:chgData name="Ashwin Sunder" userId="0dc3bf7fb9413de4" providerId="LiveId" clId="{4AF140CF-3027-4683-B79B-0FBF16533509}" dt="2024-09-20T09:04:31.333" v="15154" actId="20577"/>
          <ac:spMkLst>
            <pc:docMk/>
            <pc:sldMk cId="513286463" sldId="452"/>
            <ac:spMk id="7" creationId="{8C00F159-63EB-61E6-C11A-34ABB29BBFD9}"/>
          </ac:spMkLst>
        </pc:spChg>
        <pc:spChg chg="add del mod">
          <ac:chgData name="Ashwin Sunder" userId="0dc3bf7fb9413de4" providerId="LiveId" clId="{4AF140CF-3027-4683-B79B-0FBF16533509}" dt="2024-09-27T09:07:01.660" v="20101" actId="21"/>
          <ac:spMkLst>
            <pc:docMk/>
            <pc:sldMk cId="513286463" sldId="452"/>
            <ac:spMk id="8" creationId="{26FCEC27-32FC-CCF3-2DCC-2BF6662188B8}"/>
          </ac:spMkLst>
        </pc:spChg>
        <pc:spChg chg="mod">
          <ac:chgData name="Ashwin Sunder" userId="0dc3bf7fb9413de4" providerId="LiveId" clId="{4AF140CF-3027-4683-B79B-0FBF16533509}" dt="2024-09-20T09:04:33.414" v="15156" actId="20577"/>
          <ac:spMkLst>
            <pc:docMk/>
            <pc:sldMk cId="513286463" sldId="452"/>
            <ac:spMk id="9" creationId="{3C0FC9ED-F709-0A27-BC82-D951170DC94D}"/>
          </ac:spMkLst>
        </pc:spChg>
        <pc:spChg chg="add del mod">
          <ac:chgData name="Ashwin Sunder" userId="0dc3bf7fb9413de4" providerId="LiveId" clId="{4AF140CF-3027-4683-B79B-0FBF16533509}" dt="2024-09-27T09:07:47.707" v="20108" actId="21"/>
          <ac:spMkLst>
            <pc:docMk/>
            <pc:sldMk cId="513286463" sldId="452"/>
            <ac:spMk id="10" creationId="{900E6F88-59D5-4D33-2580-A318129BF74E}"/>
          </ac:spMkLst>
        </pc:spChg>
        <pc:spChg chg="add del mod">
          <ac:chgData name="Ashwin Sunder" userId="0dc3bf7fb9413de4" providerId="LiveId" clId="{4AF140CF-3027-4683-B79B-0FBF16533509}" dt="2024-09-20T09:11:10.392" v="15253" actId="21"/>
          <ac:spMkLst>
            <pc:docMk/>
            <pc:sldMk cId="513286463" sldId="452"/>
            <ac:spMk id="11" creationId="{CFF6B04D-D466-6F6F-E1C6-3589E2DD1BCF}"/>
          </ac:spMkLst>
        </pc:spChg>
        <pc:spChg chg="add del mod">
          <ac:chgData name="Ashwin Sunder" userId="0dc3bf7fb9413de4" providerId="LiveId" clId="{4AF140CF-3027-4683-B79B-0FBF16533509}" dt="2024-09-26T11:26:41.115" v="20015" actId="478"/>
          <ac:spMkLst>
            <pc:docMk/>
            <pc:sldMk cId="513286463" sldId="452"/>
            <ac:spMk id="12" creationId="{B18D47F7-73EF-DE63-6A99-D4048BD19F5D}"/>
          </ac:spMkLst>
        </pc:spChg>
        <pc:spChg chg="add del mod">
          <ac:chgData name="Ashwin Sunder" userId="0dc3bf7fb9413de4" providerId="LiveId" clId="{4AF140CF-3027-4683-B79B-0FBF16533509}" dt="2024-09-26T11:26:38.699" v="20014" actId="478"/>
          <ac:spMkLst>
            <pc:docMk/>
            <pc:sldMk cId="513286463" sldId="452"/>
            <ac:spMk id="13" creationId="{CFF6B04D-D466-6F6F-E1C6-3589E2DD1BCF}"/>
          </ac:spMkLst>
        </pc:spChg>
        <pc:spChg chg="add mod">
          <ac:chgData name="Ashwin Sunder" userId="0dc3bf7fb9413de4" providerId="LiveId" clId="{4AF140CF-3027-4683-B79B-0FBF16533509}" dt="2024-09-20T09:43:02.485" v="15791" actId="571"/>
          <ac:spMkLst>
            <pc:docMk/>
            <pc:sldMk cId="513286463" sldId="452"/>
            <ac:spMk id="14" creationId="{46100FC8-4721-5B9E-E210-ED52CB1B2BBA}"/>
          </ac:spMkLst>
        </pc:spChg>
        <pc:spChg chg="add mod">
          <ac:chgData name="Ashwin Sunder" userId="0dc3bf7fb9413de4" providerId="LiveId" clId="{4AF140CF-3027-4683-B79B-0FBF16533509}" dt="2024-09-20T09:43:02.485" v="15791" actId="571"/>
          <ac:spMkLst>
            <pc:docMk/>
            <pc:sldMk cId="513286463" sldId="452"/>
            <ac:spMk id="15" creationId="{318904D3-9907-3136-2911-FFFB29B445A0}"/>
          </ac:spMkLst>
        </pc:spChg>
        <pc:spChg chg="add mod">
          <ac:chgData name="Ashwin Sunder" userId="0dc3bf7fb9413de4" providerId="LiveId" clId="{4AF140CF-3027-4683-B79B-0FBF16533509}" dt="2024-09-20T09:43:02.485" v="15791" actId="571"/>
          <ac:spMkLst>
            <pc:docMk/>
            <pc:sldMk cId="513286463" sldId="452"/>
            <ac:spMk id="16" creationId="{7887248B-43F0-AC75-0F05-64FA143F9F94}"/>
          </ac:spMkLst>
        </pc:spChg>
      </pc:sldChg>
      <pc:sldChg chg="addSp delSp modSp add mod ord delAnim modAnim">
        <pc:chgData name="Ashwin Sunder" userId="0dc3bf7fb9413de4" providerId="LiveId" clId="{4AF140CF-3027-4683-B79B-0FBF16533509}" dt="2024-09-27T11:17:57.370" v="21036" actId="1076"/>
        <pc:sldMkLst>
          <pc:docMk/>
          <pc:sldMk cId="2289353881" sldId="453"/>
        </pc:sldMkLst>
        <pc:spChg chg="mod">
          <ac:chgData name="Ashwin Sunder" userId="0dc3bf7fb9413de4" providerId="LiveId" clId="{4AF140CF-3027-4683-B79B-0FBF16533509}" dt="2024-09-27T11:17:41.605" v="21034" actId="1076"/>
          <ac:spMkLst>
            <pc:docMk/>
            <pc:sldMk cId="2289353881" sldId="453"/>
            <ac:spMk id="3" creationId="{D307151D-F263-394D-F924-45A162A2DC29}"/>
          </ac:spMkLst>
        </pc:spChg>
        <pc:spChg chg="mod">
          <ac:chgData name="Ashwin Sunder" userId="0dc3bf7fb9413de4" providerId="LiveId" clId="{4AF140CF-3027-4683-B79B-0FBF16533509}" dt="2024-09-20T09:15:30.258" v="15346" actId="20577"/>
          <ac:spMkLst>
            <pc:docMk/>
            <pc:sldMk cId="2289353881" sldId="453"/>
            <ac:spMk id="4" creationId="{4E2E678F-CE9C-039E-DE2B-BC59039C4B5B}"/>
          </ac:spMkLst>
        </pc:spChg>
        <pc:spChg chg="add mod">
          <ac:chgData name="Ashwin Sunder" userId="0dc3bf7fb9413de4" providerId="LiveId" clId="{4AF140CF-3027-4683-B79B-0FBF16533509}" dt="2024-09-27T11:17:57.370" v="21036" actId="1076"/>
          <ac:spMkLst>
            <pc:docMk/>
            <pc:sldMk cId="2289353881" sldId="453"/>
            <ac:spMk id="5" creationId="{B18D47F7-73EF-DE63-6A99-D4048BD19F5D}"/>
          </ac:spMkLst>
        </pc:spChg>
        <pc:spChg chg="mod">
          <ac:chgData name="Ashwin Sunder" userId="0dc3bf7fb9413de4" providerId="LiveId" clId="{4AF140CF-3027-4683-B79B-0FBF16533509}" dt="2024-09-20T13:51:18.137" v="17821" actId="1076"/>
          <ac:spMkLst>
            <pc:docMk/>
            <pc:sldMk cId="2289353881" sldId="453"/>
            <ac:spMk id="7" creationId="{8C00F159-63EB-61E6-C11A-34ABB29BBFD9}"/>
          </ac:spMkLst>
        </pc:spChg>
        <pc:spChg chg="del mod">
          <ac:chgData name="Ashwin Sunder" userId="0dc3bf7fb9413de4" providerId="LiveId" clId="{4AF140CF-3027-4683-B79B-0FBF16533509}" dt="2024-09-27T09:12:05.087" v="20125" actId="21"/>
          <ac:spMkLst>
            <pc:docMk/>
            <pc:sldMk cId="2289353881" sldId="453"/>
            <ac:spMk id="8" creationId="{26FCEC27-32FC-CCF3-2DCC-2BF6662188B8}"/>
          </ac:spMkLst>
        </pc:spChg>
        <pc:spChg chg="mod">
          <ac:chgData name="Ashwin Sunder" userId="0dc3bf7fb9413de4" providerId="LiveId" clId="{4AF140CF-3027-4683-B79B-0FBF16533509}" dt="2024-09-20T13:51:05.985" v="17819" actId="1076"/>
          <ac:spMkLst>
            <pc:docMk/>
            <pc:sldMk cId="2289353881" sldId="453"/>
            <ac:spMk id="9" creationId="{3C0FC9ED-F709-0A27-BC82-D951170DC94D}"/>
          </ac:spMkLst>
        </pc:spChg>
        <pc:spChg chg="del mod">
          <ac:chgData name="Ashwin Sunder" userId="0dc3bf7fb9413de4" providerId="LiveId" clId="{4AF140CF-3027-4683-B79B-0FBF16533509}" dt="2024-09-20T09:20:48.537" v="15387" actId="21"/>
          <ac:spMkLst>
            <pc:docMk/>
            <pc:sldMk cId="2289353881" sldId="453"/>
            <ac:spMk id="10" creationId="{900E6F88-59D5-4D33-2580-A318129BF74E}"/>
          </ac:spMkLst>
        </pc:spChg>
        <pc:spChg chg="add mod">
          <ac:chgData name="Ashwin Sunder" userId="0dc3bf7fb9413de4" providerId="LiveId" clId="{4AF140CF-3027-4683-B79B-0FBF16533509}" dt="2024-09-27T11:17:53.526" v="21035" actId="1076"/>
          <ac:spMkLst>
            <pc:docMk/>
            <pc:sldMk cId="2289353881" sldId="453"/>
            <ac:spMk id="11" creationId="{CFF6B04D-D466-6F6F-E1C6-3589E2DD1BCF}"/>
          </ac:spMkLst>
        </pc:spChg>
        <pc:spChg chg="del mod">
          <ac:chgData name="Ashwin Sunder" userId="0dc3bf7fb9413de4" providerId="LiveId" clId="{4AF140CF-3027-4683-B79B-0FBF16533509}" dt="2024-09-27T09:12:05.087" v="20125" actId="21"/>
          <ac:spMkLst>
            <pc:docMk/>
            <pc:sldMk cId="2289353881" sldId="453"/>
            <ac:spMk id="12" creationId="{B18D47F7-73EF-DE63-6A99-D4048BD19F5D}"/>
          </ac:spMkLst>
        </pc:spChg>
        <pc:spChg chg="del mod">
          <ac:chgData name="Ashwin Sunder" userId="0dc3bf7fb9413de4" providerId="LiveId" clId="{4AF140CF-3027-4683-B79B-0FBF16533509}" dt="2024-09-27T09:12:05.087" v="20125" actId="21"/>
          <ac:spMkLst>
            <pc:docMk/>
            <pc:sldMk cId="2289353881" sldId="453"/>
            <ac:spMk id="13" creationId="{CFF6B04D-D466-6F6F-E1C6-3589E2DD1BCF}"/>
          </ac:spMkLst>
        </pc:spChg>
        <pc:spChg chg="add mod">
          <ac:chgData name="Ashwin Sunder" userId="0dc3bf7fb9413de4" providerId="LiveId" clId="{4AF140CF-3027-4683-B79B-0FBF16533509}" dt="2024-09-20T13:50:57.258" v="17817" actId="1076"/>
          <ac:spMkLst>
            <pc:docMk/>
            <pc:sldMk cId="2289353881" sldId="453"/>
            <ac:spMk id="15" creationId="{A0E97014-A597-0381-0699-A760DB1977CD}"/>
          </ac:spMkLst>
        </pc:spChg>
        <pc:spChg chg="add mod">
          <ac:chgData name="Ashwin Sunder" userId="0dc3bf7fb9413de4" providerId="LiveId" clId="{4AF140CF-3027-4683-B79B-0FBF16533509}" dt="2024-09-23T09:24:51.946" v="17913" actId="1076"/>
          <ac:spMkLst>
            <pc:docMk/>
            <pc:sldMk cId="2289353881" sldId="453"/>
            <ac:spMk id="16" creationId="{B20ABB2B-2F51-5C28-67AB-CF561EE0DCA3}"/>
          </ac:spMkLst>
        </pc:spChg>
        <pc:spChg chg="add mod">
          <ac:chgData name="Ashwin Sunder" userId="0dc3bf7fb9413de4" providerId="LiveId" clId="{4AF140CF-3027-4683-B79B-0FBF16533509}" dt="2024-09-20T12:27:51.653" v="17786" actId="571"/>
          <ac:spMkLst>
            <pc:docMk/>
            <pc:sldMk cId="2289353881" sldId="453"/>
            <ac:spMk id="17" creationId="{B12FB84F-B09B-9A05-3773-0EE7BC5379B9}"/>
          </ac:spMkLst>
        </pc:spChg>
        <pc:spChg chg="add mod">
          <ac:chgData name="Ashwin Sunder" userId="0dc3bf7fb9413de4" providerId="LiveId" clId="{4AF140CF-3027-4683-B79B-0FBF16533509}" dt="2024-09-20T12:27:51.653" v="17786" actId="571"/>
          <ac:spMkLst>
            <pc:docMk/>
            <pc:sldMk cId="2289353881" sldId="453"/>
            <ac:spMk id="18" creationId="{94A30DC7-23B9-80AF-F6FB-B2AC16D47BB0}"/>
          </ac:spMkLst>
        </pc:spChg>
        <pc:graphicFrameChg chg="add mod">
          <ac:chgData name="Ashwin Sunder" userId="0dc3bf7fb9413de4" providerId="LiveId" clId="{4AF140CF-3027-4683-B79B-0FBF16533509}" dt="2024-09-23T08:59:49.055" v="17861"/>
          <ac:graphicFrameMkLst>
            <pc:docMk/>
            <pc:sldMk cId="2289353881" sldId="453"/>
            <ac:graphicFrameMk id="5" creationId="{3D0791CF-141E-C387-2CA9-7961D72B1BEF}"/>
          </ac:graphicFrameMkLst>
        </pc:graphicFrameChg>
        <pc:picChg chg="del mod modCrop">
          <ac:chgData name="Ashwin Sunder" userId="0dc3bf7fb9413de4" providerId="LiveId" clId="{4AF140CF-3027-4683-B79B-0FBF16533509}" dt="2024-09-20T13:49:20.202" v="17796" actId="478"/>
          <ac:picMkLst>
            <pc:docMk/>
            <pc:sldMk cId="2289353881" sldId="453"/>
            <ac:picMk id="5" creationId="{D4200299-6DAE-C394-5448-66E132F692BA}"/>
          </ac:picMkLst>
        </pc:picChg>
        <pc:picChg chg="del mod modCrop">
          <ac:chgData name="Ashwin Sunder" userId="0dc3bf7fb9413de4" providerId="LiveId" clId="{4AF140CF-3027-4683-B79B-0FBF16533509}" dt="2024-09-20T13:49:50.628" v="17801" actId="478"/>
          <ac:picMkLst>
            <pc:docMk/>
            <pc:sldMk cId="2289353881" sldId="453"/>
            <ac:picMk id="6" creationId="{338F811F-D098-B74B-1715-152B383A76C1}"/>
          </ac:picMkLst>
        </pc:picChg>
        <pc:picChg chg="add mod">
          <ac:chgData name="Ashwin Sunder" userId="0dc3bf7fb9413de4" providerId="LiveId" clId="{4AF140CF-3027-4683-B79B-0FBF16533509}" dt="2024-09-23T09:20:50.634" v="17876"/>
          <ac:picMkLst>
            <pc:docMk/>
            <pc:sldMk cId="2289353881" sldId="453"/>
            <ac:picMk id="6" creationId="{B82E27C0-3971-5A3D-CEE4-B742F10CD24D}"/>
          </ac:picMkLst>
        </pc:picChg>
        <pc:picChg chg="add mod">
          <ac:chgData name="Ashwin Sunder" userId="0dc3bf7fb9413de4" providerId="LiveId" clId="{4AF140CF-3027-4683-B79B-0FBF16533509}" dt="2024-09-23T09:22:26.764" v="17885"/>
          <ac:picMkLst>
            <pc:docMk/>
            <pc:sldMk cId="2289353881" sldId="453"/>
            <ac:picMk id="10" creationId="{567504BF-0A5D-768F-BAE4-C243BA1B2F83}"/>
          </ac:picMkLst>
        </pc:picChg>
        <pc:picChg chg="add del mod">
          <ac:chgData name="Ashwin Sunder" userId="0dc3bf7fb9413de4" providerId="LiveId" clId="{4AF140CF-3027-4683-B79B-0FBF16533509}" dt="2024-09-23T09:26:09.485" v="17924" actId="478"/>
          <ac:picMkLst>
            <pc:docMk/>
            <pc:sldMk cId="2289353881" sldId="453"/>
            <ac:picMk id="11" creationId="{9738CB48-8018-07F4-0044-1A3314C07B8A}"/>
          </ac:picMkLst>
        </pc:picChg>
        <pc:picChg chg="add del mod">
          <ac:chgData name="Ashwin Sunder" userId="0dc3bf7fb9413de4" providerId="LiveId" clId="{4AF140CF-3027-4683-B79B-0FBF16533509}" dt="2024-09-20T13:50:09.895" v="17807" actId="478"/>
          <ac:picMkLst>
            <pc:docMk/>
            <pc:sldMk cId="2289353881" sldId="453"/>
            <ac:picMk id="11" creationId="{F5CDCD98-F5A0-E0A6-8CEC-7676AADABA12}"/>
          </ac:picMkLst>
        </pc:picChg>
        <pc:picChg chg="add del mod">
          <ac:chgData name="Ashwin Sunder" userId="0dc3bf7fb9413de4" providerId="LiveId" clId="{4AF140CF-3027-4683-B79B-0FBF16533509}" dt="2024-09-20T13:50:33.768" v="17812" actId="478"/>
          <ac:picMkLst>
            <pc:docMk/>
            <pc:sldMk cId="2289353881" sldId="453"/>
            <ac:picMk id="14" creationId="{811E505F-B839-87AF-868F-73BFCAB5A454}"/>
          </ac:picMkLst>
        </pc:picChg>
        <pc:picChg chg="add del mod">
          <ac:chgData name="Ashwin Sunder" userId="0dc3bf7fb9413de4" providerId="LiveId" clId="{4AF140CF-3027-4683-B79B-0FBF16533509}" dt="2024-09-23T09:26:08.714" v="17923" actId="478"/>
          <ac:picMkLst>
            <pc:docMk/>
            <pc:sldMk cId="2289353881" sldId="453"/>
            <ac:picMk id="14" creationId="{BCF42DFA-5894-43E6-D1C7-BB1FD4E95FBE}"/>
          </ac:picMkLst>
        </pc:picChg>
        <pc:picChg chg="add mod">
          <ac:chgData name="Ashwin Sunder" userId="0dc3bf7fb9413de4" providerId="LiveId" clId="{4AF140CF-3027-4683-B79B-0FBF16533509}" dt="2024-09-23T09:26:29.828" v="17928"/>
          <ac:picMkLst>
            <pc:docMk/>
            <pc:sldMk cId="2289353881" sldId="453"/>
            <ac:picMk id="17" creationId="{B17F472C-9430-BA1A-D986-1C12985F3726}"/>
          </ac:picMkLst>
        </pc:picChg>
        <pc:picChg chg="add mod">
          <ac:chgData name="Ashwin Sunder" userId="0dc3bf7fb9413de4" providerId="LiveId" clId="{4AF140CF-3027-4683-B79B-0FBF16533509}" dt="2024-09-23T09:26:54.449" v="17936"/>
          <ac:picMkLst>
            <pc:docMk/>
            <pc:sldMk cId="2289353881" sldId="453"/>
            <ac:picMk id="18" creationId="{52C0B176-E27B-85AA-D32A-EFCF48CE395B}"/>
          </ac:picMkLst>
        </pc:picChg>
        <pc:picChg chg="add del mod">
          <ac:chgData name="Ashwin Sunder" userId="0dc3bf7fb9413de4" providerId="LiveId" clId="{4AF140CF-3027-4683-B79B-0FBF16533509}" dt="2024-09-23T09:19:52.872" v="17862" actId="478"/>
          <ac:picMkLst>
            <pc:docMk/>
            <pc:sldMk cId="2289353881" sldId="453"/>
            <ac:picMk id="19" creationId="{9F243CFC-D6E9-A73D-4597-ECE4DB7E2460}"/>
          </ac:picMkLst>
        </pc:picChg>
        <pc:picChg chg="add del mod">
          <ac:chgData name="Ashwin Sunder" userId="0dc3bf7fb9413de4" providerId="LiveId" clId="{4AF140CF-3027-4683-B79B-0FBF16533509}" dt="2024-09-23T09:21:59.550" v="17879" actId="478"/>
          <ac:picMkLst>
            <pc:docMk/>
            <pc:sldMk cId="2289353881" sldId="453"/>
            <ac:picMk id="20" creationId="{525B1AC1-89A2-17D5-1000-1172EF96CAF9}"/>
          </ac:picMkLst>
        </pc:picChg>
        <pc:picChg chg="add del mod">
          <ac:chgData name="Ashwin Sunder" userId="0dc3bf7fb9413de4" providerId="LiveId" clId="{4AF140CF-3027-4683-B79B-0FBF16533509}" dt="2024-09-23T09:22:38.616" v="17890" actId="478"/>
          <ac:picMkLst>
            <pc:docMk/>
            <pc:sldMk cId="2289353881" sldId="453"/>
            <ac:picMk id="21" creationId="{F48442BB-6885-19F7-FA25-9D868577CD29}"/>
          </ac:picMkLst>
        </pc:picChg>
        <pc:picChg chg="add del mod">
          <ac:chgData name="Ashwin Sunder" userId="0dc3bf7fb9413de4" providerId="LiveId" clId="{4AF140CF-3027-4683-B79B-0FBF16533509}" dt="2024-09-23T09:23:57.125" v="17900" actId="478"/>
          <ac:picMkLst>
            <pc:docMk/>
            <pc:sldMk cId="2289353881" sldId="453"/>
            <ac:picMk id="22" creationId="{7E72BA99-BDE3-9397-FFD1-E4AB89C88017}"/>
          </ac:picMkLst>
        </pc:picChg>
      </pc:sldChg>
      <pc:sldChg chg="addSp delSp modSp add del mod delAnim modAnim">
        <pc:chgData name="Ashwin Sunder" userId="0dc3bf7fb9413de4" providerId="LiveId" clId="{4AF140CF-3027-4683-B79B-0FBF16533509}" dt="2024-09-27T09:38:22.637" v="20384" actId="2696"/>
        <pc:sldMkLst>
          <pc:docMk/>
          <pc:sldMk cId="3058399919" sldId="454"/>
        </pc:sldMkLst>
        <pc:spChg chg="mod">
          <ac:chgData name="Ashwin Sunder" userId="0dc3bf7fb9413de4" providerId="LiveId" clId="{4AF140CF-3027-4683-B79B-0FBF16533509}" dt="2024-09-27T09:31:03.404" v="20340" actId="21"/>
          <ac:spMkLst>
            <pc:docMk/>
            <pc:sldMk cId="3058399919" sldId="454"/>
            <ac:spMk id="3" creationId="{D307151D-F263-394D-F924-45A162A2DC29}"/>
          </ac:spMkLst>
        </pc:spChg>
        <pc:spChg chg="del mod">
          <ac:chgData name="Ashwin Sunder" userId="0dc3bf7fb9413de4" providerId="LiveId" clId="{4AF140CF-3027-4683-B79B-0FBF16533509}" dt="2024-09-27T09:32:05.332" v="20347" actId="21"/>
          <ac:spMkLst>
            <pc:docMk/>
            <pc:sldMk cId="3058399919" sldId="454"/>
            <ac:spMk id="7" creationId="{8C00F159-63EB-61E6-C11A-34ABB29BBFD9}"/>
          </ac:spMkLst>
        </pc:spChg>
        <pc:spChg chg="del mod">
          <ac:chgData name="Ashwin Sunder" userId="0dc3bf7fb9413de4" providerId="LiveId" clId="{4AF140CF-3027-4683-B79B-0FBF16533509}" dt="2024-09-27T09:32:37.816" v="20352" actId="21"/>
          <ac:spMkLst>
            <pc:docMk/>
            <pc:sldMk cId="3058399919" sldId="454"/>
            <ac:spMk id="9" creationId="{3C0FC9ED-F709-0A27-BC82-D951170DC94D}"/>
          </ac:spMkLst>
        </pc:spChg>
        <pc:spChg chg="add mod">
          <ac:chgData name="Ashwin Sunder" userId="0dc3bf7fb9413de4" providerId="LiveId" clId="{4AF140CF-3027-4683-B79B-0FBF16533509}" dt="2024-09-20T10:29:52.506" v="16730" actId="164"/>
          <ac:spMkLst>
            <pc:docMk/>
            <pc:sldMk cId="3058399919" sldId="454"/>
            <ac:spMk id="10" creationId="{A51AAAB5-1B05-65CA-7752-A0A212BAF547}"/>
          </ac:spMkLst>
        </pc:spChg>
        <pc:spChg chg="mod">
          <ac:chgData name="Ashwin Sunder" userId="0dc3bf7fb9413de4" providerId="LiveId" clId="{4AF140CF-3027-4683-B79B-0FBF16533509}" dt="2024-09-20T11:53:19.361" v="17469" actId="1076"/>
          <ac:spMkLst>
            <pc:docMk/>
            <pc:sldMk cId="3058399919" sldId="454"/>
            <ac:spMk id="11" creationId="{0F56D3C2-73B1-3272-14D8-8CAF3426BF92}"/>
          </ac:spMkLst>
        </pc:spChg>
        <pc:spChg chg="add mod">
          <ac:chgData name="Ashwin Sunder" userId="0dc3bf7fb9413de4" providerId="LiveId" clId="{4AF140CF-3027-4683-B79B-0FBF16533509}" dt="2024-09-20T10:29:52.506" v="16730" actId="164"/>
          <ac:spMkLst>
            <pc:docMk/>
            <pc:sldMk cId="3058399919" sldId="454"/>
            <ac:spMk id="13" creationId="{8D82C93F-51A0-DAA6-F738-4A70B90E411A}"/>
          </ac:spMkLst>
        </pc:spChg>
        <pc:spChg chg="add mod">
          <ac:chgData name="Ashwin Sunder" userId="0dc3bf7fb9413de4" providerId="LiveId" clId="{4AF140CF-3027-4683-B79B-0FBF16533509}" dt="2024-09-20T10:29:52.506" v="16730" actId="164"/>
          <ac:spMkLst>
            <pc:docMk/>
            <pc:sldMk cId="3058399919" sldId="454"/>
            <ac:spMk id="15" creationId="{DF1885AC-3843-BCA4-16E8-E8C2D3E47C24}"/>
          </ac:spMkLst>
        </pc:spChg>
        <pc:spChg chg="add mod">
          <ac:chgData name="Ashwin Sunder" userId="0dc3bf7fb9413de4" providerId="LiveId" clId="{4AF140CF-3027-4683-B79B-0FBF16533509}" dt="2024-09-20T10:29:52.506" v="16730" actId="164"/>
          <ac:spMkLst>
            <pc:docMk/>
            <pc:sldMk cId="3058399919" sldId="454"/>
            <ac:spMk id="16" creationId="{D5267C54-2F2A-E020-6164-AB07857D1F5C}"/>
          </ac:spMkLst>
        </pc:spChg>
        <pc:spChg chg="add mod">
          <ac:chgData name="Ashwin Sunder" userId="0dc3bf7fb9413de4" providerId="LiveId" clId="{4AF140CF-3027-4683-B79B-0FBF16533509}" dt="2024-09-20T10:29:52.506" v="16730" actId="164"/>
          <ac:spMkLst>
            <pc:docMk/>
            <pc:sldMk cId="3058399919" sldId="454"/>
            <ac:spMk id="17" creationId="{0A993894-A2C0-94D6-5B25-30B40CFEF93A}"/>
          </ac:spMkLst>
        </pc:spChg>
        <pc:spChg chg="add mod">
          <ac:chgData name="Ashwin Sunder" userId="0dc3bf7fb9413de4" providerId="LiveId" clId="{4AF140CF-3027-4683-B79B-0FBF16533509}" dt="2024-09-20T10:29:52.506" v="16730" actId="164"/>
          <ac:spMkLst>
            <pc:docMk/>
            <pc:sldMk cId="3058399919" sldId="454"/>
            <ac:spMk id="18" creationId="{781DD7F4-FD1D-6AAA-68C3-F38BC9FA4E86}"/>
          </ac:spMkLst>
        </pc:spChg>
        <pc:spChg chg="add mod">
          <ac:chgData name="Ashwin Sunder" userId="0dc3bf7fb9413de4" providerId="LiveId" clId="{4AF140CF-3027-4683-B79B-0FBF16533509}" dt="2024-09-20T10:29:52.506" v="16730" actId="164"/>
          <ac:spMkLst>
            <pc:docMk/>
            <pc:sldMk cId="3058399919" sldId="454"/>
            <ac:spMk id="19" creationId="{573DD035-3214-24C5-89D9-ECEE62EBC704}"/>
          </ac:spMkLst>
        </pc:spChg>
        <pc:spChg chg="mod topLvl">
          <ac:chgData name="Ashwin Sunder" userId="0dc3bf7fb9413de4" providerId="LiveId" clId="{4AF140CF-3027-4683-B79B-0FBF16533509}" dt="2024-09-20T11:37:54.648" v="17151" actId="164"/>
          <ac:spMkLst>
            <pc:docMk/>
            <pc:sldMk cId="3058399919" sldId="454"/>
            <ac:spMk id="24" creationId="{DC8983C4-8EA8-C8A4-E48C-0FB591A69DA2}"/>
          </ac:spMkLst>
        </pc:spChg>
        <pc:spChg chg="mod topLvl">
          <ac:chgData name="Ashwin Sunder" userId="0dc3bf7fb9413de4" providerId="LiveId" clId="{4AF140CF-3027-4683-B79B-0FBF16533509}" dt="2024-09-20T11:37:54.648" v="17151" actId="164"/>
          <ac:spMkLst>
            <pc:docMk/>
            <pc:sldMk cId="3058399919" sldId="454"/>
            <ac:spMk id="25" creationId="{53858475-761A-5901-C523-E19087F471C8}"/>
          </ac:spMkLst>
        </pc:spChg>
        <pc:spChg chg="mod topLvl">
          <ac:chgData name="Ashwin Sunder" userId="0dc3bf7fb9413de4" providerId="LiveId" clId="{4AF140CF-3027-4683-B79B-0FBF16533509}" dt="2024-09-20T11:37:54.648" v="17151" actId="164"/>
          <ac:spMkLst>
            <pc:docMk/>
            <pc:sldMk cId="3058399919" sldId="454"/>
            <ac:spMk id="27" creationId="{693BF348-80B9-061F-BB5B-95C81FED79AE}"/>
          </ac:spMkLst>
        </pc:spChg>
        <pc:spChg chg="mod topLvl">
          <ac:chgData name="Ashwin Sunder" userId="0dc3bf7fb9413de4" providerId="LiveId" clId="{4AF140CF-3027-4683-B79B-0FBF16533509}" dt="2024-09-20T11:37:54.648" v="17151" actId="164"/>
          <ac:spMkLst>
            <pc:docMk/>
            <pc:sldMk cId="3058399919" sldId="454"/>
            <ac:spMk id="28" creationId="{12BDFD4F-AB9B-52EA-0569-DCAE26A39F66}"/>
          </ac:spMkLst>
        </pc:spChg>
        <pc:spChg chg="mod topLvl">
          <ac:chgData name="Ashwin Sunder" userId="0dc3bf7fb9413de4" providerId="LiveId" clId="{4AF140CF-3027-4683-B79B-0FBF16533509}" dt="2024-09-20T11:37:54.648" v="17151" actId="164"/>
          <ac:spMkLst>
            <pc:docMk/>
            <pc:sldMk cId="3058399919" sldId="454"/>
            <ac:spMk id="29" creationId="{8E42C052-0160-ED3D-B883-E113BD9099EC}"/>
          </ac:spMkLst>
        </pc:spChg>
        <pc:spChg chg="mod topLvl">
          <ac:chgData name="Ashwin Sunder" userId="0dc3bf7fb9413de4" providerId="LiveId" clId="{4AF140CF-3027-4683-B79B-0FBF16533509}" dt="2024-09-20T11:37:54.648" v="17151" actId="164"/>
          <ac:spMkLst>
            <pc:docMk/>
            <pc:sldMk cId="3058399919" sldId="454"/>
            <ac:spMk id="30" creationId="{2C1A0C77-0FE5-D89E-1D95-66F95AC7A70B}"/>
          </ac:spMkLst>
        </pc:spChg>
        <pc:spChg chg="mod topLvl">
          <ac:chgData name="Ashwin Sunder" userId="0dc3bf7fb9413de4" providerId="LiveId" clId="{4AF140CF-3027-4683-B79B-0FBF16533509}" dt="2024-09-20T11:37:54.648" v="17151" actId="164"/>
          <ac:spMkLst>
            <pc:docMk/>
            <pc:sldMk cId="3058399919" sldId="454"/>
            <ac:spMk id="31" creationId="{5CF5A49C-BFFC-49F3-988D-A3566F48AB69}"/>
          </ac:spMkLst>
        </pc:spChg>
        <pc:spChg chg="add mod">
          <ac:chgData name="Ashwin Sunder" userId="0dc3bf7fb9413de4" providerId="LiveId" clId="{4AF140CF-3027-4683-B79B-0FBF16533509}" dt="2024-09-27T09:36:42.503" v="20364" actId="21"/>
          <ac:spMkLst>
            <pc:docMk/>
            <pc:sldMk cId="3058399919" sldId="454"/>
            <ac:spMk id="34" creationId="{27CC4594-1E2C-1E1F-5FD1-BCADA0D6B51F}"/>
          </ac:spMkLst>
        </pc:spChg>
        <pc:grpChg chg="add del mod">
          <ac:chgData name="Ashwin Sunder" userId="0dc3bf7fb9413de4" providerId="LiveId" clId="{4AF140CF-3027-4683-B79B-0FBF16533509}" dt="2024-09-20T11:28:07.701" v="16788" actId="478"/>
          <ac:grpSpMkLst>
            <pc:docMk/>
            <pc:sldMk cId="3058399919" sldId="454"/>
            <ac:grpSpMk id="20" creationId="{A245B0D7-7EF2-FE76-8EC4-DF49CC83DAD0}"/>
          </ac:grpSpMkLst>
        </pc:grpChg>
        <pc:grpChg chg="add del mod">
          <ac:chgData name="Ashwin Sunder" userId="0dc3bf7fb9413de4" providerId="LiveId" clId="{4AF140CF-3027-4683-B79B-0FBF16533509}" dt="2024-09-20T11:36:42.121" v="17132" actId="165"/>
          <ac:grpSpMkLst>
            <pc:docMk/>
            <pc:sldMk cId="3058399919" sldId="454"/>
            <ac:grpSpMk id="21" creationId="{1272A119-AE77-981B-F127-99E77920B099}"/>
          </ac:grpSpMkLst>
        </pc:grpChg>
        <pc:grpChg chg="add del mod">
          <ac:chgData name="Ashwin Sunder" userId="0dc3bf7fb9413de4" providerId="LiveId" clId="{4AF140CF-3027-4683-B79B-0FBF16533509}" dt="2024-09-27T09:32:05.332" v="20347" actId="21"/>
          <ac:grpSpMkLst>
            <pc:docMk/>
            <pc:sldMk cId="3058399919" sldId="454"/>
            <ac:grpSpMk id="32" creationId="{2106FCC8-343F-4D56-F629-9E30F99C8440}"/>
          </ac:grpSpMkLst>
        </pc:grpChg>
        <pc:picChg chg="del">
          <ac:chgData name="Ashwin Sunder" userId="0dc3bf7fb9413de4" providerId="LiveId" clId="{4AF140CF-3027-4683-B79B-0FBF16533509}" dt="2024-09-20T10:29:26.776" v="16726" actId="478"/>
          <ac:picMkLst>
            <pc:docMk/>
            <pc:sldMk cId="3058399919" sldId="454"/>
            <ac:picMk id="8" creationId="{3844E991-72E7-C65A-A377-C8D43D90DEC0}"/>
          </ac:picMkLst>
        </pc:picChg>
        <pc:picChg chg="del">
          <ac:chgData name="Ashwin Sunder" userId="0dc3bf7fb9413de4" providerId="LiveId" clId="{4AF140CF-3027-4683-B79B-0FBF16533509}" dt="2024-09-20T10:29:28.012" v="16727" actId="478"/>
          <ac:picMkLst>
            <pc:docMk/>
            <pc:sldMk cId="3058399919" sldId="454"/>
            <ac:picMk id="12" creationId="{D0C8369C-2369-4768-2924-33A92E73CC4A}"/>
          </ac:picMkLst>
        </pc:picChg>
        <pc:picChg chg="add del mod modCrop">
          <ac:chgData name="Ashwin Sunder" userId="0dc3bf7fb9413de4" providerId="LiveId" clId="{4AF140CF-3027-4683-B79B-0FBF16533509}" dt="2024-09-27T09:32:37.816" v="20352" actId="21"/>
          <ac:picMkLst>
            <pc:docMk/>
            <pc:sldMk cId="3058399919" sldId="454"/>
            <ac:picMk id="33" creationId="{FE97588D-863E-0035-758A-E5E0B1094D84}"/>
          </ac:picMkLst>
        </pc:picChg>
        <pc:cxnChg chg="add mod">
          <ac:chgData name="Ashwin Sunder" userId="0dc3bf7fb9413de4" providerId="LiveId" clId="{4AF140CF-3027-4683-B79B-0FBF16533509}" dt="2024-09-20T10:29:52.506" v="16730" actId="164"/>
          <ac:cxnSpMkLst>
            <pc:docMk/>
            <pc:sldMk cId="3058399919" sldId="454"/>
            <ac:cxnSpMk id="5" creationId="{96CD8597-A197-C4DD-490E-320051D246BD}"/>
          </ac:cxnSpMkLst>
        </pc:cxnChg>
        <pc:cxnChg chg="add mod">
          <ac:chgData name="Ashwin Sunder" userId="0dc3bf7fb9413de4" providerId="LiveId" clId="{4AF140CF-3027-4683-B79B-0FBF16533509}" dt="2024-09-20T10:29:52.506" v="16730" actId="164"/>
          <ac:cxnSpMkLst>
            <pc:docMk/>
            <pc:sldMk cId="3058399919" sldId="454"/>
            <ac:cxnSpMk id="6" creationId="{7B4FE776-FD3F-BEA1-7645-0F9427349EC9}"/>
          </ac:cxnSpMkLst>
        </pc:cxnChg>
        <pc:cxnChg chg="add mod">
          <ac:chgData name="Ashwin Sunder" userId="0dc3bf7fb9413de4" providerId="LiveId" clId="{4AF140CF-3027-4683-B79B-0FBF16533509}" dt="2024-09-20T10:29:52.506" v="16730" actId="164"/>
          <ac:cxnSpMkLst>
            <pc:docMk/>
            <pc:sldMk cId="3058399919" sldId="454"/>
            <ac:cxnSpMk id="14" creationId="{908CAE7B-D742-AD85-F756-9B9D8E60E598}"/>
          </ac:cxnSpMkLst>
        </pc:cxnChg>
        <pc:cxnChg chg="mod topLvl">
          <ac:chgData name="Ashwin Sunder" userId="0dc3bf7fb9413de4" providerId="LiveId" clId="{4AF140CF-3027-4683-B79B-0FBF16533509}" dt="2024-09-20T11:37:54.648" v="17151" actId="164"/>
          <ac:cxnSpMkLst>
            <pc:docMk/>
            <pc:sldMk cId="3058399919" sldId="454"/>
            <ac:cxnSpMk id="22" creationId="{2F61109A-D622-A010-EF78-06337C36E32A}"/>
          </ac:cxnSpMkLst>
        </pc:cxnChg>
        <pc:cxnChg chg="mod topLvl">
          <ac:chgData name="Ashwin Sunder" userId="0dc3bf7fb9413de4" providerId="LiveId" clId="{4AF140CF-3027-4683-B79B-0FBF16533509}" dt="2024-09-20T11:37:54.648" v="17151" actId="164"/>
          <ac:cxnSpMkLst>
            <pc:docMk/>
            <pc:sldMk cId="3058399919" sldId="454"/>
            <ac:cxnSpMk id="23" creationId="{41C9CED2-D4C2-C334-497D-EAAA9D757ECC}"/>
          </ac:cxnSpMkLst>
        </pc:cxnChg>
        <pc:cxnChg chg="mod topLvl">
          <ac:chgData name="Ashwin Sunder" userId="0dc3bf7fb9413de4" providerId="LiveId" clId="{4AF140CF-3027-4683-B79B-0FBF16533509}" dt="2024-09-20T11:37:54.648" v="17151" actId="164"/>
          <ac:cxnSpMkLst>
            <pc:docMk/>
            <pc:sldMk cId="3058399919" sldId="454"/>
            <ac:cxnSpMk id="26" creationId="{3AE882C3-58F4-0959-5492-52654D2CA7DD}"/>
          </ac:cxnSpMkLst>
        </pc:cxnChg>
      </pc:sldChg>
      <pc:sldChg chg="addSp delSp modSp add mod">
        <pc:chgData name="Ashwin Sunder" userId="0dc3bf7fb9413de4" providerId="LiveId" clId="{4AF140CF-3027-4683-B79B-0FBF16533509}" dt="2024-09-29T13:13:41.636" v="22294" actId="113"/>
        <pc:sldMkLst>
          <pc:docMk/>
          <pc:sldMk cId="413796941" sldId="455"/>
        </pc:sldMkLst>
        <pc:spChg chg="mod">
          <ac:chgData name="Ashwin Sunder" userId="0dc3bf7fb9413de4" providerId="LiveId" clId="{4AF140CF-3027-4683-B79B-0FBF16533509}" dt="2024-09-27T10:10:46.513" v="20613" actId="1076"/>
          <ac:spMkLst>
            <pc:docMk/>
            <pc:sldMk cId="413796941" sldId="455"/>
            <ac:spMk id="7" creationId="{3379DEE7-FB57-C60C-A33B-27D15882E962}"/>
          </ac:spMkLst>
        </pc:spChg>
        <pc:spChg chg="mod">
          <ac:chgData name="Ashwin Sunder" userId="0dc3bf7fb9413de4" providerId="LiveId" clId="{4AF140CF-3027-4683-B79B-0FBF16533509}" dt="2024-09-27T10:10:51.294" v="20614" actId="1076"/>
          <ac:spMkLst>
            <pc:docMk/>
            <pc:sldMk cId="413796941" sldId="455"/>
            <ac:spMk id="11" creationId="{2B6D0ABC-8DF9-F368-9A21-506E62BC29C1}"/>
          </ac:spMkLst>
        </pc:spChg>
        <pc:spChg chg="mod">
          <ac:chgData name="Ashwin Sunder" userId="0dc3bf7fb9413de4" providerId="LiveId" clId="{4AF140CF-3027-4683-B79B-0FBF16533509}" dt="2024-09-29T13:13:41.636" v="22294" actId="113"/>
          <ac:spMkLst>
            <pc:docMk/>
            <pc:sldMk cId="413796941" sldId="455"/>
            <ac:spMk id="16" creationId="{2D8B4533-EFCF-B987-1E09-BE27CF4D839D}"/>
          </ac:spMkLst>
        </pc:spChg>
        <pc:picChg chg="add mod modCrop">
          <ac:chgData name="Ashwin Sunder" userId="0dc3bf7fb9413de4" providerId="LiveId" clId="{4AF140CF-3027-4683-B79B-0FBF16533509}" dt="2024-09-27T10:09:53.878" v="20608" actId="1076"/>
          <ac:picMkLst>
            <pc:docMk/>
            <pc:sldMk cId="413796941" sldId="455"/>
            <ac:picMk id="5" creationId="{1F2C9CE2-A0E8-B7AA-57AD-7571F49FA07B}"/>
          </ac:picMkLst>
        </pc:picChg>
        <pc:picChg chg="del mod ord modCrop">
          <ac:chgData name="Ashwin Sunder" userId="0dc3bf7fb9413de4" providerId="LiveId" clId="{4AF140CF-3027-4683-B79B-0FBF16533509}" dt="2024-09-27T10:06:19.184" v="20585" actId="478"/>
          <ac:picMkLst>
            <pc:docMk/>
            <pc:sldMk cId="413796941" sldId="455"/>
            <ac:picMk id="6" creationId="{B91AC90F-EB37-1C22-4F61-9AA403644FFE}"/>
          </ac:picMkLst>
        </pc:picChg>
        <pc:picChg chg="mod modCrop">
          <ac:chgData name="Ashwin Sunder" userId="0dc3bf7fb9413de4" providerId="LiveId" clId="{4AF140CF-3027-4683-B79B-0FBF16533509}" dt="2024-09-27T10:10:40.094" v="20612" actId="1076"/>
          <ac:picMkLst>
            <pc:docMk/>
            <pc:sldMk cId="413796941" sldId="455"/>
            <ac:picMk id="8" creationId="{502BB2EA-3478-92E0-2F7E-57A71C683C73}"/>
          </ac:picMkLst>
        </pc:picChg>
      </pc:sldChg>
      <pc:sldChg chg="addSp delSp modSp new mod addAnim delAnim modAnim">
        <pc:chgData name="Ashwin Sunder" userId="0dc3bf7fb9413de4" providerId="LiveId" clId="{4AF140CF-3027-4683-B79B-0FBF16533509}" dt="2024-09-29T12:09:54.467" v="22229"/>
        <pc:sldMkLst>
          <pc:docMk/>
          <pc:sldMk cId="1846190032" sldId="456"/>
        </pc:sldMkLst>
        <pc:spChg chg="mod">
          <ac:chgData name="Ashwin Sunder" userId="0dc3bf7fb9413de4" providerId="LiveId" clId="{4AF140CF-3027-4683-B79B-0FBF16533509}" dt="2024-09-29T08:51:13.609" v="21858" actId="20577"/>
          <ac:spMkLst>
            <pc:docMk/>
            <pc:sldMk cId="1846190032" sldId="456"/>
            <ac:spMk id="2" creationId="{8971BDB3-40C2-31FA-6BF0-C9CC2422048E}"/>
          </ac:spMkLst>
        </pc:spChg>
        <pc:spChg chg="add del">
          <ac:chgData name="Ashwin Sunder" userId="0dc3bf7fb9413de4" providerId="LiveId" clId="{4AF140CF-3027-4683-B79B-0FBF16533509}" dt="2024-09-29T08:29:19.773" v="21247" actId="1032"/>
          <ac:spMkLst>
            <pc:docMk/>
            <pc:sldMk cId="1846190032" sldId="456"/>
            <ac:spMk id="3" creationId="{8BA8A95F-2267-2E27-B8AE-06C49ABDEF49}"/>
          </ac:spMkLst>
        </pc:spChg>
        <pc:spChg chg="del">
          <ac:chgData name="Ashwin Sunder" userId="0dc3bf7fb9413de4" providerId="LiveId" clId="{4AF140CF-3027-4683-B79B-0FBF16533509}" dt="2024-09-29T08:51:03.460" v="21845" actId="478"/>
          <ac:spMkLst>
            <pc:docMk/>
            <pc:sldMk cId="1846190032" sldId="456"/>
            <ac:spMk id="4" creationId="{FB526E44-1A35-3402-5BA1-AA4608EA6470}"/>
          </ac:spMkLst>
        </pc:spChg>
        <pc:spChg chg="mod topLvl">
          <ac:chgData name="Ashwin Sunder" userId="0dc3bf7fb9413de4" providerId="LiveId" clId="{4AF140CF-3027-4683-B79B-0FBF16533509}" dt="2024-09-29T08:56:01.654" v="21865" actId="165"/>
          <ac:spMkLst>
            <pc:docMk/>
            <pc:sldMk cId="1846190032" sldId="456"/>
            <ac:spMk id="8" creationId="{0EE8C0DE-E93D-AEBE-F582-BA4689582C6C}"/>
          </ac:spMkLst>
        </pc:spChg>
        <pc:spChg chg="mod topLvl">
          <ac:chgData name="Ashwin Sunder" userId="0dc3bf7fb9413de4" providerId="LiveId" clId="{4AF140CF-3027-4683-B79B-0FBF16533509}" dt="2024-09-29T08:56:01.654" v="21865" actId="165"/>
          <ac:spMkLst>
            <pc:docMk/>
            <pc:sldMk cId="1846190032" sldId="456"/>
            <ac:spMk id="9" creationId="{7B948988-E52E-3CBB-789B-97576EE0D6ED}"/>
          </ac:spMkLst>
        </pc:spChg>
        <pc:spChg chg="mod topLvl">
          <ac:chgData name="Ashwin Sunder" userId="0dc3bf7fb9413de4" providerId="LiveId" clId="{4AF140CF-3027-4683-B79B-0FBF16533509}" dt="2024-09-29T08:56:01.654" v="21865" actId="165"/>
          <ac:spMkLst>
            <pc:docMk/>
            <pc:sldMk cId="1846190032" sldId="456"/>
            <ac:spMk id="10" creationId="{F6DEC590-0630-2B9A-CD6E-EF1D3E4045B4}"/>
          </ac:spMkLst>
        </pc:spChg>
        <pc:spChg chg="mod topLvl">
          <ac:chgData name="Ashwin Sunder" userId="0dc3bf7fb9413de4" providerId="LiveId" clId="{4AF140CF-3027-4683-B79B-0FBF16533509}" dt="2024-09-29T08:56:01.654" v="21865" actId="165"/>
          <ac:spMkLst>
            <pc:docMk/>
            <pc:sldMk cId="1846190032" sldId="456"/>
            <ac:spMk id="11" creationId="{1FF5BF53-64B9-DF9A-28C9-ED908F588779}"/>
          </ac:spMkLst>
        </pc:spChg>
        <pc:spChg chg="mod topLvl">
          <ac:chgData name="Ashwin Sunder" userId="0dc3bf7fb9413de4" providerId="LiveId" clId="{4AF140CF-3027-4683-B79B-0FBF16533509}" dt="2024-09-29T08:56:01.654" v="21865" actId="165"/>
          <ac:spMkLst>
            <pc:docMk/>
            <pc:sldMk cId="1846190032" sldId="456"/>
            <ac:spMk id="12" creationId="{68AD65B4-BF19-FE9E-4479-1E0A852AC2AF}"/>
          </ac:spMkLst>
        </pc:spChg>
        <pc:spChg chg="mod topLvl">
          <ac:chgData name="Ashwin Sunder" userId="0dc3bf7fb9413de4" providerId="LiveId" clId="{4AF140CF-3027-4683-B79B-0FBF16533509}" dt="2024-09-29T08:56:01.654" v="21865" actId="165"/>
          <ac:spMkLst>
            <pc:docMk/>
            <pc:sldMk cId="1846190032" sldId="456"/>
            <ac:spMk id="13" creationId="{342A2607-7165-D70C-F199-5EA566AF74C2}"/>
          </ac:spMkLst>
        </pc:spChg>
        <pc:spChg chg="mod topLvl">
          <ac:chgData name="Ashwin Sunder" userId="0dc3bf7fb9413de4" providerId="LiveId" clId="{4AF140CF-3027-4683-B79B-0FBF16533509}" dt="2024-09-29T08:56:01.654" v="21865" actId="165"/>
          <ac:spMkLst>
            <pc:docMk/>
            <pc:sldMk cId="1846190032" sldId="456"/>
            <ac:spMk id="14" creationId="{E6E26B4E-9C54-C903-7000-A72EBF8E69CE}"/>
          </ac:spMkLst>
        </pc:spChg>
        <pc:spChg chg="mod topLvl">
          <ac:chgData name="Ashwin Sunder" userId="0dc3bf7fb9413de4" providerId="LiveId" clId="{4AF140CF-3027-4683-B79B-0FBF16533509}" dt="2024-09-29T12:09:20.260" v="22225"/>
          <ac:spMkLst>
            <pc:docMk/>
            <pc:sldMk cId="1846190032" sldId="456"/>
            <ac:spMk id="15" creationId="{40C9813D-A1CC-7C48-6F4E-F886D22C264B}"/>
          </ac:spMkLst>
        </pc:spChg>
        <pc:spChg chg="mod topLvl">
          <ac:chgData name="Ashwin Sunder" userId="0dc3bf7fb9413de4" providerId="LiveId" clId="{4AF140CF-3027-4683-B79B-0FBF16533509}" dt="2024-09-29T12:09:53.725" v="22228" actId="21"/>
          <ac:spMkLst>
            <pc:docMk/>
            <pc:sldMk cId="1846190032" sldId="456"/>
            <ac:spMk id="16" creationId="{57F04E63-0063-3B81-74E0-65B683677597}"/>
          </ac:spMkLst>
        </pc:spChg>
        <pc:spChg chg="mod topLvl">
          <ac:chgData name="Ashwin Sunder" userId="0dc3bf7fb9413de4" providerId="LiveId" clId="{4AF140CF-3027-4683-B79B-0FBF16533509}" dt="2024-09-29T08:56:01.654" v="21865" actId="165"/>
          <ac:spMkLst>
            <pc:docMk/>
            <pc:sldMk cId="1846190032" sldId="456"/>
            <ac:spMk id="17" creationId="{051D9224-3269-2907-F31C-2FECD5749749}"/>
          </ac:spMkLst>
        </pc:spChg>
        <pc:spChg chg="mod topLvl">
          <ac:chgData name="Ashwin Sunder" userId="0dc3bf7fb9413de4" providerId="LiveId" clId="{4AF140CF-3027-4683-B79B-0FBF16533509}" dt="2024-09-29T08:56:01.654" v="21865" actId="165"/>
          <ac:spMkLst>
            <pc:docMk/>
            <pc:sldMk cId="1846190032" sldId="456"/>
            <ac:spMk id="18" creationId="{FC2D7AF5-E001-BFEE-EB3D-B4A461CE5EA8}"/>
          </ac:spMkLst>
        </pc:spChg>
        <pc:spChg chg="mod topLvl">
          <ac:chgData name="Ashwin Sunder" userId="0dc3bf7fb9413de4" providerId="LiveId" clId="{4AF140CF-3027-4683-B79B-0FBF16533509}" dt="2024-09-29T09:20:32.636" v="22199" actId="20577"/>
          <ac:spMkLst>
            <pc:docMk/>
            <pc:sldMk cId="1846190032" sldId="456"/>
            <ac:spMk id="19" creationId="{137377F5-E279-CD83-1BBB-B3E9F30EA224}"/>
          </ac:spMkLst>
        </pc:spChg>
        <pc:spChg chg="mod topLvl">
          <ac:chgData name="Ashwin Sunder" userId="0dc3bf7fb9413de4" providerId="LiveId" clId="{4AF140CF-3027-4683-B79B-0FBF16533509}" dt="2024-09-29T08:56:01.654" v="21865" actId="165"/>
          <ac:spMkLst>
            <pc:docMk/>
            <pc:sldMk cId="1846190032" sldId="456"/>
            <ac:spMk id="20" creationId="{198B3F0F-FAD3-8962-9DB1-B8046CCA5CC6}"/>
          </ac:spMkLst>
        </pc:spChg>
        <pc:grpChg chg="del mod">
          <ac:chgData name="Ashwin Sunder" userId="0dc3bf7fb9413de4" providerId="LiveId" clId="{4AF140CF-3027-4683-B79B-0FBF16533509}" dt="2024-09-29T08:56:01.654" v="21865" actId="165"/>
          <ac:grpSpMkLst>
            <pc:docMk/>
            <pc:sldMk cId="1846190032" sldId="456"/>
            <ac:grpSpMk id="7" creationId="{5BCD5E82-0DBE-CFBA-008F-13390A051741}"/>
          </ac:grpSpMkLst>
        </pc:grpChg>
        <pc:graphicFrameChg chg="add del modGraphic">
          <ac:chgData name="Ashwin Sunder" userId="0dc3bf7fb9413de4" providerId="LiveId" clId="{4AF140CF-3027-4683-B79B-0FBF16533509}" dt="2024-09-29T08:28:14.863" v="21246" actId="1032"/>
          <ac:graphicFrameMkLst>
            <pc:docMk/>
            <pc:sldMk cId="1846190032" sldId="456"/>
            <ac:graphicFrameMk id="5" creationId="{45CA2846-BCA9-6C37-B763-FE89A4563F78}"/>
          </ac:graphicFrameMkLst>
        </pc:graphicFrameChg>
        <pc:graphicFrameChg chg="add del mod modGraphic">
          <ac:chgData name="Ashwin Sunder" userId="0dc3bf7fb9413de4" providerId="LiveId" clId="{4AF140CF-3027-4683-B79B-0FBF16533509}" dt="2024-09-29T08:55:57.414" v="21864" actId="18245"/>
          <ac:graphicFrameMkLst>
            <pc:docMk/>
            <pc:sldMk cId="1846190032" sldId="456"/>
            <ac:graphicFrameMk id="6" creationId="{53A4BB35-9A97-0946-6EEF-29A4DEACC68B}"/>
          </ac:graphicFrameMkLst>
        </pc:graphicFrameChg>
      </pc:sldChg>
      <pc:sldChg chg="add del">
        <pc:chgData name="Ashwin Sunder" userId="0dc3bf7fb9413de4" providerId="LiveId" clId="{4AF140CF-3027-4683-B79B-0FBF16533509}" dt="2024-09-30T10:40:14.422" v="22418" actId="47"/>
        <pc:sldMkLst>
          <pc:docMk/>
          <pc:sldMk cId="44541374" sldId="457"/>
        </pc:sldMkLst>
      </pc:sldChg>
      <pc:sldChg chg="addSp delSp modSp new mod modAnim">
        <pc:chgData name="Ashwin Sunder" userId="0dc3bf7fb9413de4" providerId="LiveId" clId="{4AF140CF-3027-4683-B79B-0FBF16533509}" dt="2024-09-29T13:45:20.697" v="22352" actId="20577"/>
        <pc:sldMkLst>
          <pc:docMk/>
          <pc:sldMk cId="2875540904" sldId="458"/>
        </pc:sldMkLst>
        <pc:spChg chg="mod">
          <ac:chgData name="Ashwin Sunder" userId="0dc3bf7fb9413de4" providerId="LiveId" clId="{4AF140CF-3027-4683-B79B-0FBF16533509}" dt="2024-09-29T09:00:31.448" v="21892" actId="20577"/>
          <ac:spMkLst>
            <pc:docMk/>
            <pc:sldMk cId="2875540904" sldId="458"/>
            <ac:spMk id="2" creationId="{C2935BC8-13F1-EAA8-5317-C6CA81A805B2}"/>
          </ac:spMkLst>
        </pc:spChg>
        <pc:spChg chg="mod">
          <ac:chgData name="Ashwin Sunder" userId="0dc3bf7fb9413de4" providerId="LiveId" clId="{4AF140CF-3027-4683-B79B-0FBF16533509}" dt="2024-09-29T09:00:38.376" v="21897" actId="12"/>
          <ac:spMkLst>
            <pc:docMk/>
            <pc:sldMk cId="2875540904" sldId="458"/>
            <ac:spMk id="3" creationId="{DF9290C1-55B0-5D93-3E41-709A8E48B026}"/>
          </ac:spMkLst>
        </pc:spChg>
        <pc:spChg chg="del">
          <ac:chgData name="Ashwin Sunder" userId="0dc3bf7fb9413de4" providerId="LiveId" clId="{4AF140CF-3027-4683-B79B-0FBF16533509}" dt="2024-09-29T09:00:24.972" v="21884" actId="21"/>
          <ac:spMkLst>
            <pc:docMk/>
            <pc:sldMk cId="2875540904" sldId="458"/>
            <ac:spMk id="4" creationId="{FFFC2865-6C4E-DAB2-80CF-554802E4A9D1}"/>
          </ac:spMkLst>
        </pc:spChg>
        <pc:spChg chg="add mod">
          <ac:chgData name="Ashwin Sunder" userId="0dc3bf7fb9413de4" providerId="LiveId" clId="{4AF140CF-3027-4683-B79B-0FBF16533509}" dt="2024-09-29T13:45:20.697" v="22352" actId="20577"/>
          <ac:spMkLst>
            <pc:docMk/>
            <pc:sldMk cId="2875540904" sldId="458"/>
            <ac:spMk id="6" creationId="{267595C3-5281-3965-04D9-A386D48AB03F}"/>
          </ac:spMkLst>
        </pc:spChg>
      </pc:sldChg>
      <pc:sldChg chg="addSp delSp modSp add mod">
        <pc:chgData name="Ashwin Sunder" userId="0dc3bf7fb9413de4" providerId="LiveId" clId="{4AF140CF-3027-4683-B79B-0FBF16533509}" dt="2024-09-30T10:52:51.301" v="23014" actId="20577"/>
        <pc:sldMkLst>
          <pc:docMk/>
          <pc:sldMk cId="2479711352" sldId="459"/>
        </pc:sldMkLst>
        <pc:spChg chg="mod">
          <ac:chgData name="Ashwin Sunder" userId="0dc3bf7fb9413de4" providerId="LiveId" clId="{4AF140CF-3027-4683-B79B-0FBF16533509}" dt="2024-09-30T10:49:09.673" v="22857" actId="20577"/>
          <ac:spMkLst>
            <pc:docMk/>
            <pc:sldMk cId="2479711352" sldId="459"/>
            <ac:spMk id="4" creationId="{C394EA77-4737-FD1E-A05D-4B2E2F5578AB}"/>
          </ac:spMkLst>
        </pc:spChg>
        <pc:spChg chg="add del mod">
          <ac:chgData name="Ashwin Sunder" userId="0dc3bf7fb9413de4" providerId="LiveId" clId="{4AF140CF-3027-4683-B79B-0FBF16533509}" dt="2024-09-30T10:45:34.054" v="22488" actId="478"/>
          <ac:spMkLst>
            <pc:docMk/>
            <pc:sldMk cId="2479711352" sldId="459"/>
            <ac:spMk id="9" creationId="{60B9046D-BD82-B92D-23B5-9785849DB9E0}"/>
          </ac:spMkLst>
        </pc:spChg>
        <pc:spChg chg="mod">
          <ac:chgData name="Ashwin Sunder" userId="0dc3bf7fb9413de4" providerId="LiveId" clId="{4AF140CF-3027-4683-B79B-0FBF16533509}" dt="2024-09-30T10:52:51.301" v="23014" actId="20577"/>
          <ac:spMkLst>
            <pc:docMk/>
            <pc:sldMk cId="2479711352" sldId="459"/>
            <ac:spMk id="16" creationId="{2D8B4533-EFCF-B987-1E09-BE27CF4D839D}"/>
          </ac:spMkLst>
        </pc:spChg>
        <pc:graphicFrameChg chg="del modGraphic">
          <ac:chgData name="Ashwin Sunder" userId="0dc3bf7fb9413de4" providerId="LiveId" clId="{4AF140CF-3027-4683-B79B-0FBF16533509}" dt="2024-09-30T10:44:24.147" v="22477" actId="478"/>
          <ac:graphicFrameMkLst>
            <pc:docMk/>
            <pc:sldMk cId="2479711352" sldId="459"/>
            <ac:graphicFrameMk id="6" creationId="{1D062EA0-CDCF-48DC-6C73-3A9678449E30}"/>
          </ac:graphicFrameMkLst>
        </pc:graphicFrameChg>
        <pc:graphicFrameChg chg="mod modGraphic">
          <ac:chgData name="Ashwin Sunder" userId="0dc3bf7fb9413de4" providerId="LiveId" clId="{4AF140CF-3027-4683-B79B-0FBF16533509}" dt="2024-09-30T10:45:37.540" v="22489" actId="1076"/>
          <ac:graphicFrameMkLst>
            <pc:docMk/>
            <pc:sldMk cId="2479711352" sldId="459"/>
            <ac:graphicFrameMk id="8" creationId="{A22561A6-91B7-5613-CC1B-8BF3BD6C64F1}"/>
          </ac:graphicFrameMkLst>
        </pc:graphicFrameChg>
        <pc:picChg chg="del">
          <ac:chgData name="Ashwin Sunder" userId="0dc3bf7fb9413de4" providerId="LiveId" clId="{4AF140CF-3027-4683-B79B-0FBF16533509}" dt="2024-09-30T10:45:55.313" v="22490" actId="478"/>
          <ac:picMkLst>
            <pc:docMk/>
            <pc:sldMk cId="2479711352" sldId="459"/>
            <ac:picMk id="3" creationId="{B946D895-86C7-5CC2-7DA2-D9636DBD0D6D}"/>
          </ac:picMkLst>
        </pc:picChg>
        <pc:picChg chg="del">
          <ac:chgData name="Ashwin Sunder" userId="0dc3bf7fb9413de4" providerId="LiveId" clId="{4AF140CF-3027-4683-B79B-0FBF16533509}" dt="2024-09-30T10:46:03.597" v="22495" actId="478"/>
          <ac:picMkLst>
            <pc:docMk/>
            <pc:sldMk cId="2479711352" sldId="459"/>
            <ac:picMk id="5" creationId="{1B748401-1965-4FD4-7F54-0A384A498D53}"/>
          </ac:picMkLst>
        </pc:picChg>
        <pc:picChg chg="add mod">
          <ac:chgData name="Ashwin Sunder" userId="0dc3bf7fb9413de4" providerId="LiveId" clId="{4AF140CF-3027-4683-B79B-0FBF16533509}" dt="2024-09-30T10:46:01.758" v="22494" actId="1076"/>
          <ac:picMkLst>
            <pc:docMk/>
            <pc:sldMk cId="2479711352" sldId="459"/>
            <ac:picMk id="10" creationId="{8A7FBDDB-E465-AC99-58AB-C7309AB448A4}"/>
          </ac:picMkLst>
        </pc:picChg>
        <pc:picChg chg="add mod">
          <ac:chgData name="Ashwin Sunder" userId="0dc3bf7fb9413de4" providerId="LiveId" clId="{4AF140CF-3027-4683-B79B-0FBF16533509}" dt="2024-09-30T10:46:20.612" v="22499" actId="1076"/>
          <ac:picMkLst>
            <pc:docMk/>
            <pc:sldMk cId="2479711352" sldId="459"/>
            <ac:picMk id="11" creationId="{C387BC58-DE36-5A46-63AE-0134454737C8}"/>
          </ac:picMkLst>
        </pc:picChg>
      </pc:sldChg>
      <pc:sldChg chg="modSp add del mod">
        <pc:chgData name="Ashwin Sunder" userId="0dc3bf7fb9413de4" providerId="LiveId" clId="{4AF140CF-3027-4683-B79B-0FBF16533509}" dt="2024-09-30T10:49:28.801" v="22881" actId="47"/>
        <pc:sldMkLst>
          <pc:docMk/>
          <pc:sldMk cId="3389646406" sldId="460"/>
        </pc:sldMkLst>
        <pc:spChg chg="mod">
          <ac:chgData name="Ashwin Sunder" userId="0dc3bf7fb9413de4" providerId="LiveId" clId="{4AF140CF-3027-4683-B79B-0FBF16533509}" dt="2024-09-30T10:49:17.154" v="22880" actId="20577"/>
          <ac:spMkLst>
            <pc:docMk/>
            <pc:sldMk cId="3389646406" sldId="460"/>
            <ac:spMk id="4" creationId="{C394EA77-4737-FD1E-A05D-4B2E2F5578AB}"/>
          </ac:spMkLst>
        </pc:spChg>
      </pc:sldChg>
      <pc:sldChg chg="addSp delSp modSp add mod">
        <pc:chgData name="Ashwin Sunder" userId="0dc3bf7fb9413de4" providerId="LiveId" clId="{4AF140CF-3027-4683-B79B-0FBF16533509}" dt="2024-09-30T10:54:41.831" v="23235" actId="20577"/>
        <pc:sldMkLst>
          <pc:docMk/>
          <pc:sldMk cId="3711117249" sldId="460"/>
        </pc:sldMkLst>
        <pc:spChg chg="mod">
          <ac:chgData name="Ashwin Sunder" userId="0dc3bf7fb9413de4" providerId="LiveId" clId="{4AF140CF-3027-4683-B79B-0FBF16533509}" dt="2024-09-30T10:49:40.002" v="22899" actId="20577"/>
          <ac:spMkLst>
            <pc:docMk/>
            <pc:sldMk cId="3711117249" sldId="460"/>
            <ac:spMk id="4" creationId="{C394EA77-4737-FD1E-A05D-4B2E2F5578AB}"/>
          </ac:spMkLst>
        </pc:spChg>
        <pc:spChg chg="mod">
          <ac:chgData name="Ashwin Sunder" userId="0dc3bf7fb9413de4" providerId="LiveId" clId="{4AF140CF-3027-4683-B79B-0FBF16533509}" dt="2024-09-30T10:54:41.831" v="23235" actId="20577"/>
          <ac:spMkLst>
            <pc:docMk/>
            <pc:sldMk cId="3711117249" sldId="460"/>
            <ac:spMk id="16" creationId="{2D8B4533-EFCF-B987-1E09-BE27CF4D839D}"/>
          </ac:spMkLst>
        </pc:spChg>
        <pc:graphicFrameChg chg="mod">
          <ac:chgData name="Ashwin Sunder" userId="0dc3bf7fb9413de4" providerId="LiveId" clId="{4AF140CF-3027-4683-B79B-0FBF16533509}" dt="2024-09-30T10:49:52.347" v="22900"/>
          <ac:graphicFrameMkLst>
            <pc:docMk/>
            <pc:sldMk cId="3711117249" sldId="460"/>
            <ac:graphicFrameMk id="8" creationId="{A22561A6-91B7-5613-CC1B-8BF3BD6C64F1}"/>
          </ac:graphicFrameMkLst>
        </pc:graphicFrameChg>
        <pc:picChg chg="add mod">
          <ac:chgData name="Ashwin Sunder" userId="0dc3bf7fb9413de4" providerId="LiveId" clId="{4AF140CF-3027-4683-B79B-0FBF16533509}" dt="2024-09-30T10:50:12.676" v="22906" actId="14100"/>
          <ac:picMkLst>
            <pc:docMk/>
            <pc:sldMk cId="3711117249" sldId="460"/>
            <ac:picMk id="3" creationId="{DC77FA4F-651F-D232-239A-0EDF0C8F238E}"/>
          </ac:picMkLst>
        </pc:picChg>
        <pc:picChg chg="add mod">
          <ac:chgData name="Ashwin Sunder" userId="0dc3bf7fb9413de4" providerId="LiveId" clId="{4AF140CF-3027-4683-B79B-0FBF16533509}" dt="2024-09-30T10:50:53.082" v="22912" actId="14100"/>
          <ac:picMkLst>
            <pc:docMk/>
            <pc:sldMk cId="3711117249" sldId="460"/>
            <ac:picMk id="5" creationId="{4D4B4307-5804-1701-72B7-E2A50D4516DC}"/>
          </ac:picMkLst>
        </pc:picChg>
        <pc:picChg chg="del">
          <ac:chgData name="Ashwin Sunder" userId="0dc3bf7fb9413de4" providerId="LiveId" clId="{4AF140CF-3027-4683-B79B-0FBF16533509}" dt="2024-09-30T10:49:56.527" v="22901" actId="478"/>
          <ac:picMkLst>
            <pc:docMk/>
            <pc:sldMk cId="3711117249" sldId="460"/>
            <ac:picMk id="10" creationId="{8A7FBDDB-E465-AC99-58AB-C7309AB448A4}"/>
          </ac:picMkLst>
        </pc:picChg>
        <pc:picChg chg="del">
          <ac:chgData name="Ashwin Sunder" userId="0dc3bf7fb9413de4" providerId="LiveId" clId="{4AF140CF-3027-4683-B79B-0FBF16533509}" dt="2024-09-30T10:50:14.829" v="22907" actId="478"/>
          <ac:picMkLst>
            <pc:docMk/>
            <pc:sldMk cId="3711117249" sldId="460"/>
            <ac:picMk id="11" creationId="{C387BC58-DE36-5A46-63AE-0134454737C8}"/>
          </ac:picMkLst>
        </pc:picChg>
      </pc:sldChg>
      <pc:sldChg chg="addSp delSp modSp add mod">
        <pc:chgData name="Ashwin Sunder" userId="0dc3bf7fb9413de4" providerId="LiveId" clId="{4AF140CF-3027-4683-B79B-0FBF16533509}" dt="2024-09-30T11:01:53.361" v="23575" actId="20577"/>
        <pc:sldMkLst>
          <pc:docMk/>
          <pc:sldMk cId="591777977" sldId="461"/>
        </pc:sldMkLst>
        <pc:spChg chg="mod">
          <ac:chgData name="Ashwin Sunder" userId="0dc3bf7fb9413de4" providerId="LiveId" clId="{4AF140CF-3027-4683-B79B-0FBF16533509}" dt="2024-09-30T10:54:49.997" v="23252" actId="20577"/>
          <ac:spMkLst>
            <pc:docMk/>
            <pc:sldMk cId="591777977" sldId="461"/>
            <ac:spMk id="4" creationId="{C394EA77-4737-FD1E-A05D-4B2E2F5578AB}"/>
          </ac:spMkLst>
        </pc:spChg>
        <pc:spChg chg="mod">
          <ac:chgData name="Ashwin Sunder" userId="0dc3bf7fb9413de4" providerId="LiveId" clId="{4AF140CF-3027-4683-B79B-0FBF16533509}" dt="2024-09-30T11:01:53.361" v="23575" actId="20577"/>
          <ac:spMkLst>
            <pc:docMk/>
            <pc:sldMk cId="591777977" sldId="461"/>
            <ac:spMk id="16" creationId="{2D8B4533-EFCF-B987-1E09-BE27CF4D839D}"/>
          </ac:spMkLst>
        </pc:spChg>
        <pc:graphicFrameChg chg="mod modGraphic">
          <ac:chgData name="Ashwin Sunder" userId="0dc3bf7fb9413de4" providerId="LiveId" clId="{4AF140CF-3027-4683-B79B-0FBF16533509}" dt="2024-09-30T10:55:05.126" v="23255"/>
          <ac:graphicFrameMkLst>
            <pc:docMk/>
            <pc:sldMk cId="591777977" sldId="461"/>
            <ac:graphicFrameMk id="8" creationId="{A22561A6-91B7-5613-CC1B-8BF3BD6C64F1}"/>
          </ac:graphicFrameMkLst>
        </pc:graphicFrameChg>
        <pc:picChg chg="add mod">
          <ac:chgData name="Ashwin Sunder" userId="0dc3bf7fb9413de4" providerId="LiveId" clId="{4AF140CF-3027-4683-B79B-0FBF16533509}" dt="2024-09-30T10:55:23.227" v="23260" actId="1076"/>
          <ac:picMkLst>
            <pc:docMk/>
            <pc:sldMk cId="591777977" sldId="461"/>
            <ac:picMk id="3" creationId="{5841E69F-1D6C-6356-713A-BD63EAF9EF77}"/>
          </ac:picMkLst>
        </pc:picChg>
        <pc:picChg chg="add mod">
          <ac:chgData name="Ashwin Sunder" userId="0dc3bf7fb9413de4" providerId="LiveId" clId="{4AF140CF-3027-4683-B79B-0FBF16533509}" dt="2024-09-30T10:55:38.474" v="23265" actId="1076"/>
          <ac:picMkLst>
            <pc:docMk/>
            <pc:sldMk cId="591777977" sldId="461"/>
            <ac:picMk id="5" creationId="{AE76BDDB-1F3D-ACA8-A497-DA6F39AF5D7F}"/>
          </ac:picMkLst>
        </pc:picChg>
        <pc:picChg chg="del">
          <ac:chgData name="Ashwin Sunder" userId="0dc3bf7fb9413de4" providerId="LiveId" clId="{4AF140CF-3027-4683-B79B-0FBF16533509}" dt="2024-09-30T10:55:17.487" v="23256" actId="478"/>
          <ac:picMkLst>
            <pc:docMk/>
            <pc:sldMk cId="591777977" sldId="461"/>
            <ac:picMk id="10" creationId="{8A7FBDDB-E465-AC99-58AB-C7309AB448A4}"/>
          </ac:picMkLst>
        </pc:picChg>
        <pc:picChg chg="del">
          <ac:chgData name="Ashwin Sunder" userId="0dc3bf7fb9413de4" providerId="LiveId" clId="{4AF140CF-3027-4683-B79B-0FBF16533509}" dt="2024-09-30T10:55:24.876" v="23261" actId="478"/>
          <ac:picMkLst>
            <pc:docMk/>
            <pc:sldMk cId="591777977" sldId="461"/>
            <ac:picMk id="11" creationId="{C387BC58-DE36-5A46-63AE-0134454737C8}"/>
          </ac:picMkLst>
        </pc:picChg>
      </pc:sldChg>
      <pc:sldChg chg="modSp add del mod">
        <pc:chgData name="Ashwin Sunder" userId="0dc3bf7fb9413de4" providerId="LiveId" clId="{4AF140CF-3027-4683-B79B-0FBF16533509}" dt="2024-09-30T10:49:29.624" v="22882" actId="47"/>
        <pc:sldMkLst>
          <pc:docMk/>
          <pc:sldMk cId="685915566" sldId="461"/>
        </pc:sldMkLst>
        <pc:spChg chg="mod">
          <ac:chgData name="Ashwin Sunder" userId="0dc3bf7fb9413de4" providerId="LiveId" clId="{4AF140CF-3027-4683-B79B-0FBF16533509}" dt="2024-09-30T10:43:46.309" v="22474"/>
          <ac:spMkLst>
            <pc:docMk/>
            <pc:sldMk cId="685915566" sldId="461"/>
            <ac:spMk id="4" creationId="{C394EA77-4737-FD1E-A05D-4B2E2F5578AB}"/>
          </ac:spMkLst>
        </pc:spChg>
      </pc:sldChg>
      <pc:sldChg chg="modSp add del mod">
        <pc:chgData name="Ashwin Sunder" userId="0dc3bf7fb9413de4" providerId="LiveId" clId="{4AF140CF-3027-4683-B79B-0FBF16533509}" dt="2024-09-30T10:49:31.540" v="22883" actId="47"/>
        <pc:sldMkLst>
          <pc:docMk/>
          <pc:sldMk cId="296599694" sldId="462"/>
        </pc:sldMkLst>
        <pc:spChg chg="mod">
          <ac:chgData name="Ashwin Sunder" userId="0dc3bf7fb9413de4" providerId="LiveId" clId="{4AF140CF-3027-4683-B79B-0FBF16533509}" dt="2024-09-30T10:43:51.990" v="22475"/>
          <ac:spMkLst>
            <pc:docMk/>
            <pc:sldMk cId="296599694" sldId="462"/>
            <ac:spMk id="4" creationId="{C394EA77-4737-FD1E-A05D-4B2E2F5578AB}"/>
          </ac:spMkLst>
        </pc:spChg>
      </pc:sldChg>
      <pc:sldChg chg="addSp delSp modSp add mod modAnim">
        <pc:chgData name="Ashwin Sunder" userId="0dc3bf7fb9413de4" providerId="LiveId" clId="{4AF140CF-3027-4683-B79B-0FBF16533509}" dt="2024-09-30T11:02:44.881" v="23672" actId="20577"/>
        <pc:sldMkLst>
          <pc:docMk/>
          <pc:sldMk cId="2619727970" sldId="462"/>
        </pc:sldMkLst>
        <pc:spChg chg="mod">
          <ac:chgData name="Ashwin Sunder" userId="0dc3bf7fb9413de4" providerId="LiveId" clId="{4AF140CF-3027-4683-B79B-0FBF16533509}" dt="2024-09-30T10:58:25.422" v="23502" actId="20577"/>
          <ac:spMkLst>
            <pc:docMk/>
            <pc:sldMk cId="2619727970" sldId="462"/>
            <ac:spMk id="4" creationId="{C394EA77-4737-FD1E-A05D-4B2E2F5578AB}"/>
          </ac:spMkLst>
        </pc:spChg>
        <pc:spChg chg="add mod">
          <ac:chgData name="Ashwin Sunder" userId="0dc3bf7fb9413de4" providerId="LiveId" clId="{4AF140CF-3027-4683-B79B-0FBF16533509}" dt="2024-09-30T11:00:32.376" v="23541" actId="1076"/>
          <ac:spMkLst>
            <pc:docMk/>
            <pc:sldMk cId="2619727970" sldId="462"/>
            <ac:spMk id="6" creationId="{24DC90B4-795A-1231-86EC-733F7BCD0505}"/>
          </ac:spMkLst>
        </pc:spChg>
        <pc:spChg chg="add mod">
          <ac:chgData name="Ashwin Sunder" userId="0dc3bf7fb9413de4" providerId="LiveId" clId="{4AF140CF-3027-4683-B79B-0FBF16533509}" dt="2024-09-30T11:00:59.693" v="23546" actId="1076"/>
          <ac:spMkLst>
            <pc:docMk/>
            <pc:sldMk cId="2619727970" sldId="462"/>
            <ac:spMk id="7" creationId="{513B5759-4010-FBCA-45F3-B31AC1E9218B}"/>
          </ac:spMkLst>
        </pc:spChg>
        <pc:spChg chg="mod">
          <ac:chgData name="Ashwin Sunder" userId="0dc3bf7fb9413de4" providerId="LiveId" clId="{4AF140CF-3027-4683-B79B-0FBF16533509}" dt="2024-09-30T11:02:44.881" v="23672" actId="20577"/>
          <ac:spMkLst>
            <pc:docMk/>
            <pc:sldMk cId="2619727970" sldId="462"/>
            <ac:spMk id="16" creationId="{2D8B4533-EFCF-B987-1E09-BE27CF4D839D}"/>
          </ac:spMkLst>
        </pc:spChg>
        <pc:graphicFrameChg chg="mod">
          <ac:chgData name="Ashwin Sunder" userId="0dc3bf7fb9413de4" providerId="LiveId" clId="{4AF140CF-3027-4683-B79B-0FBF16533509}" dt="2024-09-30T10:58:35.582" v="23503"/>
          <ac:graphicFrameMkLst>
            <pc:docMk/>
            <pc:sldMk cId="2619727970" sldId="462"/>
            <ac:graphicFrameMk id="8" creationId="{A22561A6-91B7-5613-CC1B-8BF3BD6C64F1}"/>
          </ac:graphicFrameMkLst>
        </pc:graphicFrameChg>
        <pc:picChg chg="add mod">
          <ac:chgData name="Ashwin Sunder" userId="0dc3bf7fb9413de4" providerId="LiveId" clId="{4AF140CF-3027-4683-B79B-0FBF16533509}" dt="2024-09-30T10:58:52.086" v="23508" actId="14100"/>
          <ac:picMkLst>
            <pc:docMk/>
            <pc:sldMk cId="2619727970" sldId="462"/>
            <ac:picMk id="3" creationId="{E97EB87E-CC4F-1CD0-4393-5A5935339650}"/>
          </ac:picMkLst>
        </pc:picChg>
        <pc:picChg chg="add mod">
          <ac:chgData name="Ashwin Sunder" userId="0dc3bf7fb9413de4" providerId="LiveId" clId="{4AF140CF-3027-4683-B79B-0FBF16533509}" dt="2024-09-30T11:00:49.611" v="23544" actId="1076"/>
          <ac:picMkLst>
            <pc:docMk/>
            <pc:sldMk cId="2619727970" sldId="462"/>
            <ac:picMk id="5" creationId="{CE93EAED-C3CC-542F-8322-CEA9EAA194A5}"/>
          </ac:picMkLst>
        </pc:picChg>
        <pc:picChg chg="del">
          <ac:chgData name="Ashwin Sunder" userId="0dc3bf7fb9413de4" providerId="LiveId" clId="{4AF140CF-3027-4683-B79B-0FBF16533509}" dt="2024-09-30T10:58:44.611" v="23504" actId="478"/>
          <ac:picMkLst>
            <pc:docMk/>
            <pc:sldMk cId="2619727970" sldId="462"/>
            <ac:picMk id="10" creationId="{8A7FBDDB-E465-AC99-58AB-C7309AB448A4}"/>
          </ac:picMkLst>
        </pc:picChg>
        <pc:picChg chg="del">
          <ac:chgData name="Ashwin Sunder" userId="0dc3bf7fb9413de4" providerId="LiveId" clId="{4AF140CF-3027-4683-B79B-0FBF16533509}" dt="2024-09-30T10:58:53.879" v="23509" actId="478"/>
          <ac:picMkLst>
            <pc:docMk/>
            <pc:sldMk cId="2619727970" sldId="462"/>
            <ac:picMk id="11" creationId="{C387BC58-DE36-5A46-63AE-0134454737C8}"/>
          </ac:picMkLst>
        </pc:picChg>
      </pc:sldChg>
      <pc:sldChg chg="addSp delSp modSp add mod">
        <pc:chgData name="Ashwin Sunder" userId="0dc3bf7fb9413de4" providerId="LiveId" clId="{4AF140CF-3027-4683-B79B-0FBF16533509}" dt="2024-09-30T11:07:25.999" v="23809" actId="20577"/>
        <pc:sldMkLst>
          <pc:docMk/>
          <pc:sldMk cId="2257897821" sldId="463"/>
        </pc:sldMkLst>
        <pc:spChg chg="del mod">
          <ac:chgData name="Ashwin Sunder" userId="0dc3bf7fb9413de4" providerId="LiveId" clId="{4AF140CF-3027-4683-B79B-0FBF16533509}" dt="2024-09-30T11:06:06.443" v="23787" actId="478"/>
          <ac:spMkLst>
            <pc:docMk/>
            <pc:sldMk cId="2257897821" sldId="463"/>
            <ac:spMk id="16" creationId="{2D8B4533-EFCF-B987-1E09-BE27CF4D839D}"/>
          </ac:spMkLst>
        </pc:spChg>
        <pc:graphicFrameChg chg="mod modGraphic">
          <ac:chgData name="Ashwin Sunder" userId="0dc3bf7fb9413de4" providerId="LiveId" clId="{4AF140CF-3027-4683-B79B-0FBF16533509}" dt="2024-09-30T11:07:25.999" v="23809" actId="20577"/>
          <ac:graphicFrameMkLst>
            <pc:docMk/>
            <pc:sldMk cId="2257897821" sldId="463"/>
            <ac:graphicFrameMk id="8" creationId="{A22561A6-91B7-5613-CC1B-8BF3BD6C64F1}"/>
          </ac:graphicFrameMkLst>
        </pc:graphicFrameChg>
        <pc:picChg chg="add mod">
          <ac:chgData name="Ashwin Sunder" userId="0dc3bf7fb9413de4" providerId="LiveId" clId="{4AF140CF-3027-4683-B79B-0FBF16533509}" dt="2024-09-30T11:07:09.615" v="23806" actId="1076"/>
          <ac:picMkLst>
            <pc:docMk/>
            <pc:sldMk cId="2257897821" sldId="463"/>
            <ac:picMk id="3" creationId="{D65861F7-BB25-BE5E-066F-5C75B78F78F9}"/>
          </ac:picMkLst>
        </pc:picChg>
        <pc:picChg chg="add mod">
          <ac:chgData name="Ashwin Sunder" userId="0dc3bf7fb9413de4" providerId="LiveId" clId="{4AF140CF-3027-4683-B79B-0FBF16533509}" dt="2024-09-30T11:07:01.627" v="23803" actId="1076"/>
          <ac:picMkLst>
            <pc:docMk/>
            <pc:sldMk cId="2257897821" sldId="463"/>
            <ac:picMk id="5" creationId="{F6C92EF7-1EF2-A4AE-83EA-3BBB2B34FC7E}"/>
          </ac:picMkLst>
        </pc:picChg>
        <pc:picChg chg="add mod">
          <ac:chgData name="Ashwin Sunder" userId="0dc3bf7fb9413de4" providerId="LiveId" clId="{4AF140CF-3027-4683-B79B-0FBF16533509}" dt="2024-09-30T11:07:04.709" v="23804" actId="1076"/>
          <ac:picMkLst>
            <pc:docMk/>
            <pc:sldMk cId="2257897821" sldId="463"/>
            <ac:picMk id="6" creationId="{5C877167-BA23-A591-D2AA-8EE2040D6695}"/>
          </ac:picMkLst>
        </pc:picChg>
        <pc:picChg chg="del">
          <ac:chgData name="Ashwin Sunder" userId="0dc3bf7fb9413de4" providerId="LiveId" clId="{4AF140CF-3027-4683-B79B-0FBF16533509}" dt="2024-09-30T11:05:51.691" v="23784" actId="478"/>
          <ac:picMkLst>
            <pc:docMk/>
            <pc:sldMk cId="2257897821" sldId="463"/>
            <ac:picMk id="10" creationId="{8A7FBDDB-E465-AC99-58AB-C7309AB448A4}"/>
          </ac:picMkLst>
        </pc:picChg>
        <pc:picChg chg="del">
          <ac:chgData name="Ashwin Sunder" userId="0dc3bf7fb9413de4" providerId="LiveId" clId="{4AF140CF-3027-4683-B79B-0FBF16533509}" dt="2024-09-30T11:06:24.604" v="23794" actId="478"/>
          <ac:picMkLst>
            <pc:docMk/>
            <pc:sldMk cId="2257897821" sldId="463"/>
            <ac:picMk id="11" creationId="{C387BC58-DE36-5A46-63AE-0134454737C8}"/>
          </ac:picMkLst>
        </pc:picChg>
      </pc:sldChg>
      <pc:sldChg chg="addSp delSp modSp add mod ord">
        <pc:chgData name="Ashwin Sunder" userId="0dc3bf7fb9413de4" providerId="LiveId" clId="{4AF140CF-3027-4683-B79B-0FBF16533509}" dt="2024-09-30T11:12:07.247" v="24010" actId="5793"/>
        <pc:sldMkLst>
          <pc:docMk/>
          <pc:sldMk cId="2727127007" sldId="464"/>
        </pc:sldMkLst>
        <pc:spChg chg="mod">
          <ac:chgData name="Ashwin Sunder" userId="0dc3bf7fb9413de4" providerId="LiveId" clId="{4AF140CF-3027-4683-B79B-0FBF16533509}" dt="2024-09-30T11:09:20.231" v="23841" actId="20577"/>
          <ac:spMkLst>
            <pc:docMk/>
            <pc:sldMk cId="2727127007" sldId="464"/>
            <ac:spMk id="2" creationId="{7538ED40-9917-A294-BEA6-82CFEB6E3517}"/>
          </ac:spMkLst>
        </pc:spChg>
        <pc:spChg chg="mod">
          <ac:chgData name="Ashwin Sunder" userId="0dc3bf7fb9413de4" providerId="LiveId" clId="{4AF140CF-3027-4683-B79B-0FBF16533509}" dt="2024-09-30T11:10:26.810" v="23852" actId="1076"/>
          <ac:spMkLst>
            <pc:docMk/>
            <pc:sldMk cId="2727127007" sldId="464"/>
            <ac:spMk id="7" creationId="{3379DEE7-FB57-C60C-A33B-27D15882E962}"/>
          </ac:spMkLst>
        </pc:spChg>
        <pc:spChg chg="add mod">
          <ac:chgData name="Ashwin Sunder" userId="0dc3bf7fb9413de4" providerId="LiveId" clId="{4AF140CF-3027-4683-B79B-0FBF16533509}" dt="2024-09-30T11:11:07.334" v="23867" actId="20577"/>
          <ac:spMkLst>
            <pc:docMk/>
            <pc:sldMk cId="2727127007" sldId="464"/>
            <ac:spMk id="8" creationId="{1D9158C1-BCE9-9D68-A7B6-F2D2274006D5}"/>
          </ac:spMkLst>
        </pc:spChg>
        <pc:spChg chg="del">
          <ac:chgData name="Ashwin Sunder" userId="0dc3bf7fb9413de4" providerId="LiveId" clId="{4AF140CF-3027-4683-B79B-0FBF16533509}" dt="2024-09-30T11:08:16.991" v="23815" actId="478"/>
          <ac:spMkLst>
            <pc:docMk/>
            <pc:sldMk cId="2727127007" sldId="464"/>
            <ac:spMk id="12" creationId="{C377A8F6-7472-D0C0-9122-AAED66242135}"/>
          </ac:spMkLst>
        </pc:spChg>
        <pc:spChg chg="mod">
          <ac:chgData name="Ashwin Sunder" userId="0dc3bf7fb9413de4" providerId="LiveId" clId="{4AF140CF-3027-4683-B79B-0FBF16533509}" dt="2024-09-30T11:12:07.247" v="24010" actId="5793"/>
          <ac:spMkLst>
            <pc:docMk/>
            <pc:sldMk cId="2727127007" sldId="464"/>
            <ac:spMk id="16" creationId="{2D8B4533-EFCF-B987-1E09-BE27CF4D839D}"/>
          </ac:spMkLst>
        </pc:spChg>
        <pc:picChg chg="add mod">
          <ac:chgData name="Ashwin Sunder" userId="0dc3bf7fb9413de4" providerId="LiveId" clId="{4AF140CF-3027-4683-B79B-0FBF16533509}" dt="2024-09-30T11:10:13.516" v="23848" actId="1076"/>
          <ac:picMkLst>
            <pc:docMk/>
            <pc:sldMk cId="2727127007" sldId="464"/>
            <ac:picMk id="3" creationId="{0D5BE2C7-972B-72D7-EEC2-612AD0B44E8C}"/>
          </ac:picMkLst>
        </pc:picChg>
        <pc:picChg chg="del">
          <ac:chgData name="Ashwin Sunder" userId="0dc3bf7fb9413de4" providerId="LiveId" clId="{4AF140CF-3027-4683-B79B-0FBF16533509}" dt="2024-09-30T11:08:14.856" v="23814" actId="478"/>
          <ac:picMkLst>
            <pc:docMk/>
            <pc:sldMk cId="2727127007" sldId="464"/>
            <ac:picMk id="5" creationId="{BFA86C35-02B5-1F9B-78D1-9712B034A48F}"/>
          </ac:picMkLst>
        </pc:picChg>
        <pc:picChg chg="add mod">
          <ac:chgData name="Ashwin Sunder" userId="0dc3bf7fb9413de4" providerId="LiveId" clId="{4AF140CF-3027-4683-B79B-0FBF16533509}" dt="2024-09-30T11:10:23.048" v="23851" actId="1076"/>
          <ac:picMkLst>
            <pc:docMk/>
            <pc:sldMk cId="2727127007" sldId="464"/>
            <ac:picMk id="6" creationId="{4910BA9A-C6A2-C9F8-878B-71D2659FC0AC}"/>
          </ac:picMkLst>
        </pc:picChg>
        <pc:picChg chg="del">
          <ac:chgData name="Ashwin Sunder" userId="0dc3bf7fb9413de4" providerId="LiveId" clId="{4AF140CF-3027-4683-B79B-0FBF16533509}" dt="2024-09-30T11:08:14.179" v="23813" actId="478"/>
          <ac:picMkLst>
            <pc:docMk/>
            <pc:sldMk cId="2727127007" sldId="464"/>
            <ac:picMk id="14" creationId="{341F2E59-BC92-8244-D266-091FE97E4FA7}"/>
          </ac:picMkLst>
        </pc:picChg>
      </pc:sldChg>
      <pc:sldMasterChg chg="modSp modSldLayout">
        <pc:chgData name="Ashwin Sunder" userId="0dc3bf7fb9413de4" providerId="LiveId" clId="{4AF140CF-3027-4683-B79B-0FBF16533509}" dt="2024-09-09T15:26:02.894" v="14860" actId="20577"/>
        <pc:sldMasterMkLst>
          <pc:docMk/>
          <pc:sldMasterMk cId="0" sldId="2147483717"/>
        </pc:sldMasterMkLst>
        <pc:spChg chg="mod">
          <ac:chgData name="Ashwin Sunder" userId="0dc3bf7fb9413de4" providerId="LiveId" clId="{4AF140CF-3027-4683-B79B-0FBF16533509}" dt="2024-09-04T09:05:31.638" v="3567"/>
          <ac:spMkLst>
            <pc:docMk/>
            <pc:sldMasterMk cId="0" sldId="2147483717"/>
            <ac:spMk id="2" creationId="{00000000-0000-0000-0000-000000000000}"/>
          </ac:spMkLst>
        </pc:spChg>
        <pc:spChg chg="mod">
          <ac:chgData name="Ashwin Sunder" userId="0dc3bf7fb9413de4" providerId="LiveId" clId="{4AF140CF-3027-4683-B79B-0FBF16533509}" dt="2024-09-04T09:05:31.638" v="3567"/>
          <ac:spMkLst>
            <pc:docMk/>
            <pc:sldMasterMk cId="0" sldId="2147483717"/>
            <ac:spMk id="4" creationId="{00000000-0000-0000-0000-000000000000}"/>
          </ac:spMkLst>
        </pc:spChg>
        <pc:spChg chg="mod">
          <ac:chgData name="Ashwin Sunder" userId="0dc3bf7fb9413de4" providerId="LiveId" clId="{4AF140CF-3027-4683-B79B-0FBF16533509}" dt="2024-09-04T09:05:31.638" v="3567"/>
          <ac:spMkLst>
            <pc:docMk/>
            <pc:sldMasterMk cId="0" sldId="2147483717"/>
            <ac:spMk id="5" creationId="{00000000-0000-0000-0000-000000000000}"/>
          </ac:spMkLst>
        </pc:spChg>
        <pc:spChg chg="mod">
          <ac:chgData name="Ashwin Sunder" userId="0dc3bf7fb9413de4" providerId="LiveId" clId="{4AF140CF-3027-4683-B79B-0FBF16533509}" dt="2024-09-04T09:05:31.638" v="3567"/>
          <ac:spMkLst>
            <pc:docMk/>
            <pc:sldMasterMk cId="0" sldId="2147483717"/>
            <ac:spMk id="6" creationId="{00000000-0000-0000-0000-000000000000}"/>
          </ac:spMkLst>
        </pc:spChg>
        <pc:spChg chg="mod">
          <ac:chgData name="Ashwin Sunder" userId="0dc3bf7fb9413de4" providerId="LiveId" clId="{4AF140CF-3027-4683-B79B-0FBF16533509}" dt="2024-09-04T09:05:31.638" v="3567"/>
          <ac:spMkLst>
            <pc:docMk/>
            <pc:sldMasterMk cId="0" sldId="2147483717"/>
            <ac:spMk id="2050" creationId="{00000000-0000-0000-0000-000000000000}"/>
          </ac:spMkLst>
        </pc:spChg>
        <pc:spChg chg="mod">
          <ac:chgData name="Ashwin Sunder" userId="0dc3bf7fb9413de4" providerId="LiveId" clId="{4AF140CF-3027-4683-B79B-0FBF16533509}" dt="2024-09-04T09:05:31.638" v="3567"/>
          <ac:spMkLst>
            <pc:docMk/>
            <pc:sldMasterMk cId="0" sldId="2147483717"/>
            <ac:spMk id="2051" creationId="{00000000-0000-0000-0000-000000000000}"/>
          </ac:spMkLst>
        </pc:spChg>
        <pc:graphicFrameChg chg="mod">
          <ac:chgData name="Ashwin Sunder" userId="0dc3bf7fb9413de4" providerId="LiveId" clId="{4AF140CF-3027-4683-B79B-0FBF16533509}" dt="2024-09-04T09:05:31.638" v="3567"/>
          <ac:graphicFrameMkLst>
            <pc:docMk/>
            <pc:sldMasterMk cId="0" sldId="2147483717"/>
            <ac:graphicFrameMk id="3" creationId="{00000000-0000-0000-0000-000000000000}"/>
          </ac:graphicFrameMkLst>
        </pc:graphicFrameChg>
        <pc:picChg chg="mod">
          <ac:chgData name="Ashwin Sunder" userId="0dc3bf7fb9413de4" providerId="LiveId" clId="{4AF140CF-3027-4683-B79B-0FBF16533509}" dt="2024-09-04T09:05:31.638" v="3567"/>
          <ac:picMkLst>
            <pc:docMk/>
            <pc:sldMasterMk cId="0" sldId="2147483717"/>
            <ac:picMk id="8" creationId="{8C7E62BD-1002-A073-CE1F-77B97E261A14}"/>
          </ac:picMkLst>
        </pc:picChg>
        <pc:sldLayoutChg chg="modSp mod">
          <pc:chgData name="Ashwin Sunder" userId="0dc3bf7fb9413de4" providerId="LiveId" clId="{4AF140CF-3027-4683-B79B-0FBF16533509}" dt="2024-09-09T15:25:20.001" v="14762" actId="20577"/>
          <pc:sldLayoutMkLst>
            <pc:docMk/>
            <pc:sldMasterMk cId="0" sldId="2147483717"/>
            <pc:sldLayoutMk cId="237806911" sldId="2147483839"/>
          </pc:sldLayoutMkLst>
          <pc:spChg chg="mod">
            <ac:chgData name="Ashwin Sunder" userId="0dc3bf7fb9413de4" providerId="LiveId" clId="{4AF140CF-3027-4683-B79B-0FBF16533509}" dt="2024-09-09T15:25:20.001" v="14762" actId="20577"/>
            <ac:spMkLst>
              <pc:docMk/>
              <pc:sldMasterMk cId="0" sldId="2147483717"/>
              <pc:sldLayoutMk cId="237806911" sldId="2147483839"/>
              <ac:spMk id="6" creationId="{00000000-0000-0000-0000-000000000000}"/>
            </ac:spMkLst>
          </pc:spChg>
          <pc:spChg chg="mod">
            <ac:chgData name="Ashwin Sunder" userId="0dc3bf7fb9413de4" providerId="LiveId" clId="{4AF140CF-3027-4683-B79B-0FBF16533509}" dt="2024-09-04T09:05:31.638" v="3567"/>
            <ac:spMkLst>
              <pc:docMk/>
              <pc:sldMasterMk cId="0" sldId="2147483717"/>
              <pc:sldLayoutMk cId="237806911" sldId="2147483839"/>
              <ac:spMk id="7" creationId="{00000000-0000-0000-0000-000000000000}"/>
            </ac:spMkLst>
          </pc:spChg>
          <pc:spChg chg="mod">
            <ac:chgData name="Ashwin Sunder" userId="0dc3bf7fb9413de4" providerId="LiveId" clId="{4AF140CF-3027-4683-B79B-0FBF16533509}" dt="2024-09-04T09:05:31.638" v="3567"/>
            <ac:spMkLst>
              <pc:docMk/>
              <pc:sldMasterMk cId="0" sldId="2147483717"/>
              <pc:sldLayoutMk cId="237806911" sldId="2147483839"/>
              <ac:spMk id="8" creationId="{00000000-0000-0000-0000-000000000000}"/>
            </ac:spMkLst>
          </pc:spChg>
          <pc:spChg chg="mod">
            <ac:chgData name="Ashwin Sunder" userId="0dc3bf7fb9413de4" providerId="LiveId" clId="{4AF140CF-3027-4683-B79B-0FBF16533509}" dt="2024-09-04T09:05:31.638" v="3567"/>
            <ac:spMkLst>
              <pc:docMk/>
              <pc:sldMasterMk cId="0" sldId="2147483717"/>
              <pc:sldLayoutMk cId="237806911" sldId="2147483839"/>
              <ac:spMk id="11" creationId="{6B1E3CAF-2CC4-2DA2-67A3-7147FBF5EDB4}"/>
            </ac:spMkLst>
          </pc:spChg>
          <pc:spChg chg="mod">
            <ac:chgData name="Ashwin Sunder" userId="0dc3bf7fb9413de4" providerId="LiveId" clId="{4AF140CF-3027-4683-B79B-0FBF16533509}" dt="2024-09-04T09:05:31.638" v="3567"/>
            <ac:spMkLst>
              <pc:docMk/>
              <pc:sldMasterMk cId="0" sldId="2147483717"/>
              <pc:sldLayoutMk cId="237806911" sldId="2147483839"/>
              <ac:spMk id="14" creationId="{E883E8A4-3AA2-A3CA-50AE-6C986FCADE50}"/>
            </ac:spMkLst>
          </pc:spChg>
          <pc:cxnChg chg="mod">
            <ac:chgData name="Ashwin Sunder" userId="0dc3bf7fb9413de4" providerId="LiveId" clId="{4AF140CF-3027-4683-B79B-0FBF16533509}" dt="2024-09-04T09:05:31.638" v="3567"/>
            <ac:cxnSpMkLst>
              <pc:docMk/>
              <pc:sldMasterMk cId="0" sldId="2147483717"/>
              <pc:sldLayoutMk cId="237806911" sldId="2147483839"/>
              <ac:cxnSpMk id="4" creationId="{00000000-0000-0000-0000-000000000000}"/>
            </ac:cxnSpMkLst>
          </pc:cxnChg>
          <pc:cxnChg chg="mod">
            <ac:chgData name="Ashwin Sunder" userId="0dc3bf7fb9413de4" providerId="LiveId" clId="{4AF140CF-3027-4683-B79B-0FBF16533509}" dt="2024-09-04T09:05:31.638" v="3567"/>
            <ac:cxnSpMkLst>
              <pc:docMk/>
              <pc:sldMasterMk cId="0" sldId="2147483717"/>
              <pc:sldLayoutMk cId="237806911" sldId="2147483839"/>
              <ac:cxnSpMk id="5" creationId="{00000000-0000-0000-0000-000000000000}"/>
            </ac:cxnSpMkLst>
          </pc:cxnChg>
        </pc:sldLayoutChg>
        <pc:sldLayoutChg chg="modSp mod">
          <pc:chgData name="Ashwin Sunder" userId="0dc3bf7fb9413de4" providerId="LiveId" clId="{4AF140CF-3027-4683-B79B-0FBF16533509}" dt="2024-09-09T15:25:38.709" v="14818" actId="20577"/>
          <pc:sldLayoutMkLst>
            <pc:docMk/>
            <pc:sldMasterMk cId="0" sldId="2147483717"/>
            <pc:sldLayoutMk cId="1589748936" sldId="2147483840"/>
          </pc:sldLayoutMkLst>
          <pc:spChg chg="mod">
            <ac:chgData name="Ashwin Sunder" userId="0dc3bf7fb9413de4" providerId="LiveId" clId="{4AF140CF-3027-4683-B79B-0FBF16533509}" dt="2024-09-04T09:05:31.638" v="3567"/>
            <ac:spMkLst>
              <pc:docMk/>
              <pc:sldMasterMk cId="0" sldId="2147483717"/>
              <pc:sldLayoutMk cId="1589748936" sldId="2147483840"/>
              <ac:spMk id="2" creationId="{46ABA308-BBA0-8AF9-A948-334F3012E4DA}"/>
            </ac:spMkLst>
          </pc:spChg>
          <pc:spChg chg="mod">
            <ac:chgData name="Ashwin Sunder" userId="0dc3bf7fb9413de4" providerId="LiveId" clId="{4AF140CF-3027-4683-B79B-0FBF16533509}" dt="2024-09-04T09:05:31.638" v="3567"/>
            <ac:spMkLst>
              <pc:docMk/>
              <pc:sldMasterMk cId="0" sldId="2147483717"/>
              <pc:sldLayoutMk cId="1589748936" sldId="2147483840"/>
              <ac:spMk id="3" creationId="{456378CF-5979-4D79-ACC8-80F9BBACE11B}"/>
            </ac:spMkLst>
          </pc:spChg>
          <pc:spChg chg="mod">
            <ac:chgData name="Ashwin Sunder" userId="0dc3bf7fb9413de4" providerId="LiveId" clId="{4AF140CF-3027-4683-B79B-0FBF16533509}" dt="2024-09-09T15:25:38.709" v="14818" actId="20577"/>
            <ac:spMkLst>
              <pc:docMk/>
              <pc:sldMasterMk cId="0" sldId="2147483717"/>
              <pc:sldLayoutMk cId="1589748936" sldId="2147483840"/>
              <ac:spMk id="6" creationId="{3D5441D3-56AC-5C72-1CD7-3D335A3A22ED}"/>
            </ac:spMkLst>
          </pc:spChg>
          <pc:spChg chg="mod">
            <ac:chgData name="Ashwin Sunder" userId="0dc3bf7fb9413de4" providerId="LiveId" clId="{4AF140CF-3027-4683-B79B-0FBF16533509}" dt="2024-09-04T09:05:31.638" v="3567"/>
            <ac:spMkLst>
              <pc:docMk/>
              <pc:sldMasterMk cId="0" sldId="2147483717"/>
              <pc:sldLayoutMk cId="1589748936" sldId="2147483840"/>
              <ac:spMk id="11" creationId="{6B1E3CAF-2CC4-2DA2-67A3-7147FBF5EDB4}"/>
            </ac:spMkLst>
          </pc:spChg>
          <pc:cxnChg chg="mod">
            <ac:chgData name="Ashwin Sunder" userId="0dc3bf7fb9413de4" providerId="LiveId" clId="{4AF140CF-3027-4683-B79B-0FBF16533509}" dt="2024-09-04T09:05:31.638" v="3567"/>
            <ac:cxnSpMkLst>
              <pc:docMk/>
              <pc:sldMasterMk cId="0" sldId="2147483717"/>
              <pc:sldLayoutMk cId="1589748936" sldId="2147483840"/>
              <ac:cxnSpMk id="4" creationId="{00000000-0000-0000-0000-000000000000}"/>
            </ac:cxnSpMkLst>
          </pc:cxnChg>
          <pc:cxnChg chg="mod">
            <ac:chgData name="Ashwin Sunder" userId="0dc3bf7fb9413de4" providerId="LiveId" clId="{4AF140CF-3027-4683-B79B-0FBF16533509}" dt="2024-09-04T09:05:31.638" v="3567"/>
            <ac:cxnSpMkLst>
              <pc:docMk/>
              <pc:sldMasterMk cId="0" sldId="2147483717"/>
              <pc:sldLayoutMk cId="1589748936" sldId="2147483840"/>
              <ac:cxnSpMk id="5" creationId="{00000000-0000-0000-0000-000000000000}"/>
            </ac:cxnSpMkLst>
          </pc:cxnChg>
        </pc:sldLayoutChg>
        <pc:sldLayoutChg chg="modSp mod">
          <pc:chgData name="Ashwin Sunder" userId="0dc3bf7fb9413de4" providerId="LiveId" clId="{4AF140CF-3027-4683-B79B-0FBF16533509}" dt="2024-09-09T15:26:02.894" v="14860" actId="20577"/>
          <pc:sldLayoutMkLst>
            <pc:docMk/>
            <pc:sldMasterMk cId="0" sldId="2147483717"/>
            <pc:sldLayoutMk cId="3850610885" sldId="2147483842"/>
          </pc:sldLayoutMkLst>
          <pc:spChg chg="mod">
            <ac:chgData name="Ashwin Sunder" userId="0dc3bf7fb9413de4" providerId="LiveId" clId="{4AF140CF-3027-4683-B79B-0FBF16533509}" dt="2024-09-09T15:26:02.894" v="14860" actId="20577"/>
            <ac:spMkLst>
              <pc:docMk/>
              <pc:sldMasterMk cId="0" sldId="2147483717"/>
              <pc:sldLayoutMk cId="3850610885" sldId="2147483842"/>
              <ac:spMk id="3" creationId="{E47A5FD2-D07F-10C1-464E-A04AF676CA80}"/>
            </ac:spMkLst>
          </pc:spChg>
          <pc:spChg chg="mod">
            <ac:chgData name="Ashwin Sunder" userId="0dc3bf7fb9413de4" providerId="LiveId" clId="{4AF140CF-3027-4683-B79B-0FBF16533509}" dt="2024-09-04T09:05:31.638" v="3567"/>
            <ac:spMkLst>
              <pc:docMk/>
              <pc:sldMasterMk cId="0" sldId="2147483717"/>
              <pc:sldLayoutMk cId="3850610885" sldId="2147483842"/>
              <ac:spMk id="7" creationId="{00000000-0000-0000-0000-000000000000}"/>
            </ac:spMkLst>
          </pc:spChg>
          <pc:spChg chg="mod">
            <ac:chgData name="Ashwin Sunder" userId="0dc3bf7fb9413de4" providerId="LiveId" clId="{4AF140CF-3027-4683-B79B-0FBF16533509}" dt="2024-09-04T09:05:31.638" v="3567"/>
            <ac:spMkLst>
              <pc:docMk/>
              <pc:sldMasterMk cId="0" sldId="2147483717"/>
              <pc:sldLayoutMk cId="3850610885" sldId="2147483842"/>
              <ac:spMk id="8" creationId="{00000000-0000-0000-0000-000000000000}"/>
            </ac:spMkLst>
          </pc:spChg>
          <pc:spChg chg="mod">
            <ac:chgData name="Ashwin Sunder" userId="0dc3bf7fb9413de4" providerId="LiveId" clId="{4AF140CF-3027-4683-B79B-0FBF16533509}" dt="2024-09-04T09:05:31.638" v="3567"/>
            <ac:spMkLst>
              <pc:docMk/>
              <pc:sldMasterMk cId="0" sldId="2147483717"/>
              <pc:sldLayoutMk cId="3850610885" sldId="2147483842"/>
              <ac:spMk id="11" creationId="{6B1E3CAF-2CC4-2DA2-67A3-7147FBF5EDB4}"/>
            </ac:spMkLst>
          </pc:spChg>
          <pc:spChg chg="mod">
            <ac:chgData name="Ashwin Sunder" userId="0dc3bf7fb9413de4" providerId="LiveId" clId="{4AF140CF-3027-4683-B79B-0FBF16533509}" dt="2024-09-04T09:05:31.638" v="3567"/>
            <ac:spMkLst>
              <pc:docMk/>
              <pc:sldMasterMk cId="0" sldId="2147483717"/>
              <pc:sldLayoutMk cId="3850610885" sldId="2147483842"/>
              <ac:spMk id="14" creationId="{E883E8A4-3AA2-A3CA-50AE-6C986FCADE50}"/>
            </ac:spMkLst>
          </pc:spChg>
          <pc:cxnChg chg="mod">
            <ac:chgData name="Ashwin Sunder" userId="0dc3bf7fb9413de4" providerId="LiveId" clId="{4AF140CF-3027-4683-B79B-0FBF16533509}" dt="2024-09-04T09:05:31.638" v="3567"/>
            <ac:cxnSpMkLst>
              <pc:docMk/>
              <pc:sldMasterMk cId="0" sldId="2147483717"/>
              <pc:sldLayoutMk cId="3850610885" sldId="2147483842"/>
              <ac:cxnSpMk id="4" creationId="{00000000-0000-0000-0000-000000000000}"/>
            </ac:cxnSpMkLst>
          </pc:cxnChg>
          <pc:cxnChg chg="mod">
            <ac:chgData name="Ashwin Sunder" userId="0dc3bf7fb9413de4" providerId="LiveId" clId="{4AF140CF-3027-4683-B79B-0FBF16533509}" dt="2024-09-04T09:05:31.638" v="3567"/>
            <ac:cxnSpMkLst>
              <pc:docMk/>
              <pc:sldMasterMk cId="0" sldId="2147483717"/>
              <pc:sldLayoutMk cId="3850610885" sldId="2147483842"/>
              <ac:cxnSpMk id="5" creationId="{00000000-0000-0000-0000-000000000000}"/>
            </ac:cxnSpMkLst>
          </pc:cxnChg>
        </pc:sldLayoutChg>
        <pc:sldLayoutChg chg="modSp">
          <pc:chgData name="Ashwin Sunder" userId="0dc3bf7fb9413de4" providerId="LiveId" clId="{4AF140CF-3027-4683-B79B-0FBF16533509}" dt="2024-09-04T09:05:31.638" v="3567"/>
          <pc:sldLayoutMkLst>
            <pc:docMk/>
            <pc:sldMasterMk cId="0" sldId="2147483717"/>
            <pc:sldLayoutMk cId="3120453892" sldId="2147483843"/>
          </pc:sldLayoutMkLst>
          <pc:spChg chg="mod">
            <ac:chgData name="Ashwin Sunder" userId="0dc3bf7fb9413de4" providerId="LiveId" clId="{4AF140CF-3027-4683-B79B-0FBF16533509}" dt="2024-09-04T09:05:31.638" v="3567"/>
            <ac:spMkLst>
              <pc:docMk/>
              <pc:sldMasterMk cId="0" sldId="2147483717"/>
              <pc:sldLayoutMk cId="3120453892" sldId="2147483843"/>
              <ac:spMk id="8" creationId="{33725C0F-0287-2FC7-04EA-1FC36E1C73AD}"/>
            </ac:spMkLst>
          </pc:spChg>
          <pc:picChg chg="mod">
            <ac:chgData name="Ashwin Sunder" userId="0dc3bf7fb9413de4" providerId="LiveId" clId="{4AF140CF-3027-4683-B79B-0FBF16533509}" dt="2024-09-04T09:05:31.638" v="3567"/>
            <ac:picMkLst>
              <pc:docMk/>
              <pc:sldMasterMk cId="0" sldId="2147483717"/>
              <pc:sldLayoutMk cId="3120453892" sldId="2147483843"/>
              <ac:picMk id="11" creationId="{6A36EEE2-ED28-F004-1D3C-B9D752139933}"/>
            </ac:picMkLst>
          </pc:picChg>
          <pc:picChg chg="mod">
            <ac:chgData name="Ashwin Sunder" userId="0dc3bf7fb9413de4" providerId="LiveId" clId="{4AF140CF-3027-4683-B79B-0FBF16533509}" dt="2024-09-04T09:05:31.638" v="3567"/>
            <ac:picMkLst>
              <pc:docMk/>
              <pc:sldMasterMk cId="0" sldId="2147483717"/>
              <pc:sldLayoutMk cId="3120453892" sldId="2147483843"/>
              <ac:picMk id="12" creationId="{9E27722A-4E38-F683-590B-99399E10F48E}"/>
            </ac:picMkLst>
          </pc:picChg>
          <pc:cxnChg chg="mod">
            <ac:chgData name="Ashwin Sunder" userId="0dc3bf7fb9413de4" providerId="LiveId" clId="{4AF140CF-3027-4683-B79B-0FBF16533509}" dt="2024-09-04T09:05:31.638" v="3567"/>
            <ac:cxnSpMkLst>
              <pc:docMk/>
              <pc:sldMasterMk cId="0" sldId="2147483717"/>
              <pc:sldLayoutMk cId="3120453892" sldId="2147483843"/>
              <ac:cxnSpMk id="16" creationId="{1E3EB3C4-115E-AEF8-9E66-FB2D3C03115F}"/>
            </ac:cxnSpMkLst>
          </pc:cxnChg>
          <pc:cxnChg chg="mod">
            <ac:chgData name="Ashwin Sunder" userId="0dc3bf7fb9413de4" providerId="LiveId" clId="{4AF140CF-3027-4683-B79B-0FBF16533509}" dt="2024-09-04T09:05:31.638" v="3567"/>
            <ac:cxnSpMkLst>
              <pc:docMk/>
              <pc:sldMasterMk cId="0" sldId="2147483717"/>
              <pc:sldLayoutMk cId="3120453892" sldId="2147483843"/>
              <ac:cxnSpMk id="17" creationId="{66758074-C519-6D6D-976E-AA4A7C732015}"/>
            </ac:cxnSpMkLst>
          </pc:cxnChg>
        </pc:sldLayoutChg>
        <pc:sldLayoutChg chg="modSp mod">
          <pc:chgData name="Ashwin Sunder" userId="0dc3bf7fb9413de4" providerId="LiveId" clId="{4AF140CF-3027-4683-B79B-0FBF16533509}" dt="2024-09-09T15:25:49.434" v="14859" actId="20577"/>
          <pc:sldLayoutMkLst>
            <pc:docMk/>
            <pc:sldMasterMk cId="0" sldId="2147483717"/>
            <pc:sldLayoutMk cId="35031669" sldId="2147483844"/>
          </pc:sldLayoutMkLst>
          <pc:spChg chg="mod">
            <ac:chgData name="Ashwin Sunder" userId="0dc3bf7fb9413de4" providerId="LiveId" clId="{4AF140CF-3027-4683-B79B-0FBF16533509}" dt="2024-09-09T15:25:49.434" v="14859" actId="20577"/>
            <ac:spMkLst>
              <pc:docMk/>
              <pc:sldMasterMk cId="0" sldId="2147483717"/>
              <pc:sldLayoutMk cId="35031669" sldId="2147483844"/>
              <ac:spMk id="2" creationId="{8A1A0E12-5D0A-D837-B038-9232C2419996}"/>
            </ac:spMkLst>
          </pc:spChg>
          <pc:spChg chg="mod">
            <ac:chgData name="Ashwin Sunder" userId="0dc3bf7fb9413de4" providerId="LiveId" clId="{4AF140CF-3027-4683-B79B-0FBF16533509}" dt="2024-09-04T09:05:31.638" v="3567"/>
            <ac:spMkLst>
              <pc:docMk/>
              <pc:sldMasterMk cId="0" sldId="2147483717"/>
              <pc:sldLayoutMk cId="35031669" sldId="2147483844"/>
              <ac:spMk id="3" creationId="{64519501-7E05-E272-EFD3-140F58444A5F}"/>
            </ac:spMkLst>
          </pc:spChg>
          <pc:spChg chg="mod">
            <ac:chgData name="Ashwin Sunder" userId="0dc3bf7fb9413de4" providerId="LiveId" clId="{4AF140CF-3027-4683-B79B-0FBF16533509}" dt="2024-09-04T09:05:31.638" v="3567"/>
            <ac:spMkLst>
              <pc:docMk/>
              <pc:sldMasterMk cId="0" sldId="2147483717"/>
              <pc:sldLayoutMk cId="35031669" sldId="2147483844"/>
              <ac:spMk id="13" creationId="{85EC57D8-B7BC-A26B-4B2E-18F557BFEDFD}"/>
            </ac:spMkLst>
          </pc:spChg>
          <pc:picChg chg="mod">
            <ac:chgData name="Ashwin Sunder" userId="0dc3bf7fb9413de4" providerId="LiveId" clId="{4AF140CF-3027-4683-B79B-0FBF16533509}" dt="2024-09-04T09:05:31.638" v="3567"/>
            <ac:picMkLst>
              <pc:docMk/>
              <pc:sldMasterMk cId="0" sldId="2147483717"/>
              <pc:sldLayoutMk cId="35031669" sldId="2147483844"/>
              <ac:picMk id="11" creationId="{C43EE1AD-B1E1-C4EF-3A82-B21604BD1E86}"/>
            </ac:picMkLst>
          </pc:picChg>
          <pc:cxnChg chg="mod">
            <ac:chgData name="Ashwin Sunder" userId="0dc3bf7fb9413de4" providerId="LiveId" clId="{4AF140CF-3027-4683-B79B-0FBF16533509}" dt="2024-09-04T09:05:31.638" v="3567"/>
            <ac:cxnSpMkLst>
              <pc:docMk/>
              <pc:sldMasterMk cId="0" sldId="2147483717"/>
              <pc:sldLayoutMk cId="35031669" sldId="2147483844"/>
              <ac:cxnSpMk id="12" creationId="{D1742883-B15B-30AE-4001-53F5803D0D85}"/>
            </ac:cxnSpMkLst>
          </pc:cxnChg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381AFA5-FC3E-4449-A592-18179368AB9B}" type="doc">
      <dgm:prSet loTypeId="urn:microsoft.com/office/officeart/2005/8/layout/cycle7" loCatId="cycle" qsTypeId="urn:microsoft.com/office/officeart/2005/8/quickstyle/simple4" qsCatId="simple" csTypeId="urn:microsoft.com/office/officeart/2005/8/colors/accent1_4" csCatId="accent1" phldr="1"/>
      <dgm:spPr/>
      <dgm:t>
        <a:bodyPr/>
        <a:lstStyle/>
        <a:p>
          <a:endParaRPr lang="en-DE"/>
        </a:p>
      </dgm:t>
    </dgm:pt>
    <dgm:pt modelId="{E4272E5D-87A4-4EA2-9175-A65C1C21D614}">
      <dgm:prSet phldrT="[Text]" custT="1"/>
      <dgm:spPr/>
      <dgm:t>
        <a:bodyPr/>
        <a:lstStyle/>
        <a:p>
          <a:r>
            <a:rPr lang="en-US" sz="1050" dirty="0">
              <a:solidFill>
                <a:schemeClr val="tx1"/>
              </a:solidFill>
            </a:rPr>
            <a:t>Coupling Library (preCICE)</a:t>
          </a:r>
          <a:endParaRPr lang="en-DE" sz="1050" dirty="0">
            <a:solidFill>
              <a:schemeClr val="tx1"/>
            </a:solidFill>
          </a:endParaRPr>
        </a:p>
      </dgm:t>
    </dgm:pt>
    <dgm:pt modelId="{C9067A61-418B-4947-B43C-398E3E148375}" type="parTrans" cxnId="{CD907031-AA4E-42D8-9C91-80B5DE98DBA6}">
      <dgm:prSet/>
      <dgm:spPr/>
      <dgm:t>
        <a:bodyPr/>
        <a:lstStyle/>
        <a:p>
          <a:endParaRPr lang="en-DE"/>
        </a:p>
      </dgm:t>
    </dgm:pt>
    <dgm:pt modelId="{9B9EBE8B-762E-4182-A8B5-8388D59C5B3B}" type="sibTrans" cxnId="{CD907031-AA4E-42D8-9C91-80B5DE98DBA6}">
      <dgm:prSet/>
      <dgm:spPr/>
      <dgm:t>
        <a:bodyPr/>
        <a:lstStyle/>
        <a:p>
          <a:endParaRPr lang="en-DE"/>
        </a:p>
      </dgm:t>
    </dgm:pt>
    <dgm:pt modelId="{B762DDB7-9E11-457D-9763-DFEB6FFBBDAC}">
      <dgm:prSet phldrT="[Text]" custT="1"/>
      <dgm:spPr/>
      <dgm:t>
        <a:bodyPr/>
        <a:lstStyle/>
        <a:p>
          <a:r>
            <a:rPr lang="en-US" sz="1100" dirty="0">
              <a:solidFill>
                <a:schemeClr val="tx1"/>
              </a:solidFill>
            </a:rPr>
            <a:t>”Motion”</a:t>
          </a:r>
        </a:p>
        <a:p>
          <a:r>
            <a:rPr lang="en-US" sz="1100" dirty="0">
              <a:solidFill>
                <a:schemeClr val="tx1"/>
              </a:solidFill>
            </a:rPr>
            <a:t>Solver</a:t>
          </a:r>
        </a:p>
        <a:p>
          <a:r>
            <a:rPr lang="en-US" sz="1100" dirty="0">
              <a:solidFill>
                <a:schemeClr val="bg1"/>
              </a:solidFill>
            </a:rPr>
            <a:t>Input:</a:t>
          </a:r>
        </a:p>
        <a:p>
          <a:r>
            <a:rPr lang="en-US" sz="1100" dirty="0">
              <a:solidFill>
                <a:srgbClr val="FF0000"/>
              </a:solidFill>
            </a:rPr>
            <a:t>Forces, Moments</a:t>
          </a:r>
        </a:p>
        <a:p>
          <a:r>
            <a:rPr lang="en-US" sz="1100" dirty="0">
              <a:solidFill>
                <a:schemeClr val="bg1"/>
              </a:solidFill>
            </a:rPr>
            <a:t>Output:</a:t>
          </a:r>
        </a:p>
        <a:p>
          <a:r>
            <a:rPr lang="en-US" sz="1100" dirty="0">
              <a:solidFill>
                <a:srgbClr val="7030A0"/>
              </a:solidFill>
            </a:rPr>
            <a:t>Positions, Velocities</a:t>
          </a:r>
          <a:endParaRPr lang="en-DE" sz="1100" dirty="0">
            <a:solidFill>
              <a:srgbClr val="7030A0"/>
            </a:solidFill>
          </a:endParaRPr>
        </a:p>
      </dgm:t>
    </dgm:pt>
    <dgm:pt modelId="{D66AFAF9-5B7B-4340-8538-C742CFD89BA1}" type="parTrans" cxnId="{BCC632EA-0FBB-4FD5-9CBC-B96E31C9B873}">
      <dgm:prSet/>
      <dgm:spPr/>
      <dgm:t>
        <a:bodyPr/>
        <a:lstStyle/>
        <a:p>
          <a:endParaRPr lang="en-DE"/>
        </a:p>
      </dgm:t>
    </dgm:pt>
    <dgm:pt modelId="{D92DD966-A374-4B22-8714-3E05D1249FC1}" type="sibTrans" cxnId="{BCC632EA-0FBB-4FD5-9CBC-B96E31C9B873}">
      <dgm:prSet/>
      <dgm:spPr/>
      <dgm:t>
        <a:bodyPr/>
        <a:lstStyle/>
        <a:p>
          <a:endParaRPr lang="en-DE"/>
        </a:p>
      </dgm:t>
    </dgm:pt>
    <dgm:pt modelId="{5ED8E9C3-3142-4F83-AA8C-7C45CCE9EACA}">
      <dgm:prSet phldrT="[Text]" custT="1"/>
      <dgm:spPr/>
      <dgm:t>
        <a:bodyPr/>
        <a:lstStyle/>
        <a:p>
          <a:r>
            <a:rPr lang="en-US" sz="1100" dirty="0">
              <a:solidFill>
                <a:schemeClr val="tx1"/>
              </a:solidFill>
            </a:rPr>
            <a:t>Aerodynamic</a:t>
          </a:r>
        </a:p>
        <a:p>
          <a:r>
            <a:rPr lang="en-US" sz="1100" dirty="0">
              <a:solidFill>
                <a:schemeClr val="tx1"/>
              </a:solidFill>
            </a:rPr>
            <a:t>Solver (DUST)</a:t>
          </a:r>
        </a:p>
        <a:p>
          <a:r>
            <a:rPr lang="en-US" sz="1100" dirty="0">
              <a:solidFill>
                <a:schemeClr val="bg1"/>
              </a:solidFill>
            </a:rPr>
            <a:t>Input:</a:t>
          </a:r>
        </a:p>
        <a:p>
          <a:r>
            <a:rPr lang="en-US" sz="1100" dirty="0">
              <a:solidFill>
                <a:srgbClr val="7030A0"/>
              </a:solidFill>
            </a:rPr>
            <a:t>Positions, Velocities</a:t>
          </a:r>
        </a:p>
        <a:p>
          <a:r>
            <a:rPr lang="en-US" sz="1100" dirty="0">
              <a:solidFill>
                <a:schemeClr val="bg1"/>
              </a:solidFill>
            </a:rPr>
            <a:t>Output:</a:t>
          </a:r>
        </a:p>
        <a:p>
          <a:r>
            <a:rPr lang="en-US" sz="1100" dirty="0">
              <a:solidFill>
                <a:srgbClr val="FF0000"/>
              </a:solidFill>
            </a:rPr>
            <a:t>Forces, Moments</a:t>
          </a:r>
          <a:endParaRPr lang="en-DE" sz="1100" dirty="0">
            <a:solidFill>
              <a:srgbClr val="FF0000"/>
            </a:solidFill>
          </a:endParaRPr>
        </a:p>
      </dgm:t>
    </dgm:pt>
    <dgm:pt modelId="{203C9B27-DF19-46BE-958E-D20A1E6880E6}" type="parTrans" cxnId="{6CAEAB93-8BBF-46F7-B55D-878C2172DC6D}">
      <dgm:prSet/>
      <dgm:spPr/>
      <dgm:t>
        <a:bodyPr/>
        <a:lstStyle/>
        <a:p>
          <a:endParaRPr lang="en-DE"/>
        </a:p>
      </dgm:t>
    </dgm:pt>
    <dgm:pt modelId="{ED569EBD-14EE-4B60-987C-124BC00E852F}" type="sibTrans" cxnId="{6CAEAB93-8BBF-46F7-B55D-878C2172DC6D}">
      <dgm:prSet/>
      <dgm:spPr/>
      <dgm:t>
        <a:bodyPr/>
        <a:lstStyle/>
        <a:p>
          <a:endParaRPr lang="en-DE" dirty="0"/>
        </a:p>
      </dgm:t>
    </dgm:pt>
    <dgm:pt modelId="{EB4ED4C4-1B33-4129-AF7B-7DDBC6662A95}" type="pres">
      <dgm:prSet presAssocID="{1381AFA5-FC3E-4449-A592-18179368AB9B}" presName="Name0" presStyleCnt="0">
        <dgm:presLayoutVars>
          <dgm:dir/>
          <dgm:resizeHandles val="exact"/>
        </dgm:presLayoutVars>
      </dgm:prSet>
      <dgm:spPr/>
    </dgm:pt>
    <dgm:pt modelId="{427C79EF-4649-4808-8D36-10160719975D}" type="pres">
      <dgm:prSet presAssocID="{E4272E5D-87A4-4EA2-9175-A65C1C21D614}" presName="node" presStyleLbl="node1" presStyleIdx="0" presStyleCnt="3" custScaleX="92612" custScaleY="61940" custRadScaleRad="48760" custRadScaleInc="-293278">
        <dgm:presLayoutVars>
          <dgm:bulletEnabled val="1"/>
        </dgm:presLayoutVars>
      </dgm:prSet>
      <dgm:spPr/>
    </dgm:pt>
    <dgm:pt modelId="{8C79A34E-2E5C-4E03-8B85-F7E773D17119}" type="pres">
      <dgm:prSet presAssocID="{9B9EBE8B-762E-4182-A8B5-8388D59C5B3B}" presName="sibTrans" presStyleLbl="sibTrans2D1" presStyleIdx="0" presStyleCnt="3" custScaleY="65477"/>
      <dgm:spPr/>
    </dgm:pt>
    <dgm:pt modelId="{918303C3-E456-4202-BA09-F5D968A7E0C0}" type="pres">
      <dgm:prSet presAssocID="{9B9EBE8B-762E-4182-A8B5-8388D59C5B3B}" presName="connectorText" presStyleLbl="sibTrans2D1" presStyleIdx="0" presStyleCnt="3"/>
      <dgm:spPr/>
    </dgm:pt>
    <dgm:pt modelId="{ED3E8109-74AF-46CB-90CB-D570CA831485}" type="pres">
      <dgm:prSet presAssocID="{B762DDB7-9E11-457D-9763-DFEB6FFBBDAC}" presName="node" presStyleLbl="node1" presStyleIdx="1" presStyleCnt="3" custScaleX="112679" custScaleY="174580" custRadScaleRad="90647" custRadScaleInc="-87877">
        <dgm:presLayoutVars>
          <dgm:bulletEnabled val="1"/>
        </dgm:presLayoutVars>
      </dgm:prSet>
      <dgm:spPr/>
    </dgm:pt>
    <dgm:pt modelId="{8A8A0DA6-E900-4542-BF23-0F7CCC68761B}" type="pres">
      <dgm:prSet presAssocID="{D92DD966-A374-4B22-8714-3E05D1249FC1}" presName="sibTrans" presStyleLbl="sibTrans2D1" presStyleIdx="1" presStyleCnt="3" custScaleX="224783" custScaleY="146187"/>
      <dgm:spPr/>
    </dgm:pt>
    <dgm:pt modelId="{D8EF3E11-15E3-47CE-ADA5-326466C0B02C}" type="pres">
      <dgm:prSet presAssocID="{D92DD966-A374-4B22-8714-3E05D1249FC1}" presName="connectorText" presStyleLbl="sibTrans2D1" presStyleIdx="1" presStyleCnt="3"/>
      <dgm:spPr/>
    </dgm:pt>
    <dgm:pt modelId="{313CA8DF-AEA2-416B-A74C-F6AD5E2529FA}" type="pres">
      <dgm:prSet presAssocID="{5ED8E9C3-3142-4F83-AA8C-7C45CCE9EACA}" presName="node" presStyleLbl="node1" presStyleIdx="2" presStyleCnt="3" custScaleX="109740" custScaleY="169960" custRadScaleRad="94590" custRadScaleInc="86216">
        <dgm:presLayoutVars>
          <dgm:bulletEnabled val="1"/>
        </dgm:presLayoutVars>
      </dgm:prSet>
      <dgm:spPr/>
    </dgm:pt>
    <dgm:pt modelId="{63E034D7-FF49-4203-8CD5-C5B2AC8B8C63}" type="pres">
      <dgm:prSet presAssocID="{ED569EBD-14EE-4B60-987C-124BC00E852F}" presName="sibTrans" presStyleLbl="sibTrans2D1" presStyleIdx="2" presStyleCnt="3" custScaleY="63260"/>
      <dgm:spPr/>
    </dgm:pt>
    <dgm:pt modelId="{6E18D89C-56C5-41D5-826D-19FEC7947443}" type="pres">
      <dgm:prSet presAssocID="{ED569EBD-14EE-4B60-987C-124BC00E852F}" presName="connectorText" presStyleLbl="sibTrans2D1" presStyleIdx="2" presStyleCnt="3"/>
      <dgm:spPr/>
    </dgm:pt>
  </dgm:ptLst>
  <dgm:cxnLst>
    <dgm:cxn modelId="{F8291515-CE89-4804-A3FE-2537ED298379}" type="presOf" srcId="{1381AFA5-FC3E-4449-A592-18179368AB9B}" destId="{EB4ED4C4-1B33-4129-AF7B-7DDBC6662A95}" srcOrd="0" destOrd="0" presId="urn:microsoft.com/office/officeart/2005/8/layout/cycle7"/>
    <dgm:cxn modelId="{CD907031-AA4E-42D8-9C91-80B5DE98DBA6}" srcId="{1381AFA5-FC3E-4449-A592-18179368AB9B}" destId="{E4272E5D-87A4-4EA2-9175-A65C1C21D614}" srcOrd="0" destOrd="0" parTransId="{C9067A61-418B-4947-B43C-398E3E148375}" sibTransId="{9B9EBE8B-762E-4182-A8B5-8388D59C5B3B}"/>
    <dgm:cxn modelId="{6CAEAB93-8BBF-46F7-B55D-878C2172DC6D}" srcId="{1381AFA5-FC3E-4449-A592-18179368AB9B}" destId="{5ED8E9C3-3142-4F83-AA8C-7C45CCE9EACA}" srcOrd="2" destOrd="0" parTransId="{203C9B27-DF19-46BE-958E-D20A1E6880E6}" sibTransId="{ED569EBD-14EE-4B60-987C-124BC00E852F}"/>
    <dgm:cxn modelId="{03A6989E-2324-418A-83BA-8E2EDAD73B05}" type="presOf" srcId="{D92DD966-A374-4B22-8714-3E05D1249FC1}" destId="{D8EF3E11-15E3-47CE-ADA5-326466C0B02C}" srcOrd="1" destOrd="0" presId="urn:microsoft.com/office/officeart/2005/8/layout/cycle7"/>
    <dgm:cxn modelId="{FA3C73A1-3A64-4BE5-87B4-DE60120AEBFA}" type="presOf" srcId="{D92DD966-A374-4B22-8714-3E05D1249FC1}" destId="{8A8A0DA6-E900-4542-BF23-0F7CCC68761B}" srcOrd="0" destOrd="0" presId="urn:microsoft.com/office/officeart/2005/8/layout/cycle7"/>
    <dgm:cxn modelId="{52E9C4A8-64B9-4241-933C-FA2D7A76673C}" type="presOf" srcId="{ED569EBD-14EE-4B60-987C-124BC00E852F}" destId="{63E034D7-FF49-4203-8CD5-C5B2AC8B8C63}" srcOrd="0" destOrd="0" presId="urn:microsoft.com/office/officeart/2005/8/layout/cycle7"/>
    <dgm:cxn modelId="{A51416AA-4598-4F27-BD28-76F071371BBA}" type="presOf" srcId="{9B9EBE8B-762E-4182-A8B5-8388D59C5B3B}" destId="{8C79A34E-2E5C-4E03-8B85-F7E773D17119}" srcOrd="0" destOrd="0" presId="urn:microsoft.com/office/officeart/2005/8/layout/cycle7"/>
    <dgm:cxn modelId="{29AAF8AD-616C-4B70-A9D9-EB0582F7D000}" type="presOf" srcId="{5ED8E9C3-3142-4F83-AA8C-7C45CCE9EACA}" destId="{313CA8DF-AEA2-416B-A74C-F6AD5E2529FA}" srcOrd="0" destOrd="0" presId="urn:microsoft.com/office/officeart/2005/8/layout/cycle7"/>
    <dgm:cxn modelId="{A5A8D1D2-72AB-4543-AD50-3BE9CD455D92}" type="presOf" srcId="{E4272E5D-87A4-4EA2-9175-A65C1C21D614}" destId="{427C79EF-4649-4808-8D36-10160719975D}" srcOrd="0" destOrd="0" presId="urn:microsoft.com/office/officeart/2005/8/layout/cycle7"/>
    <dgm:cxn modelId="{BCC632EA-0FBB-4FD5-9CBC-B96E31C9B873}" srcId="{1381AFA5-FC3E-4449-A592-18179368AB9B}" destId="{B762DDB7-9E11-457D-9763-DFEB6FFBBDAC}" srcOrd="1" destOrd="0" parTransId="{D66AFAF9-5B7B-4340-8538-C742CFD89BA1}" sibTransId="{D92DD966-A374-4B22-8714-3E05D1249FC1}"/>
    <dgm:cxn modelId="{AFE8C9EE-5BB9-4DC0-A7D5-4FD885FEA4CA}" type="presOf" srcId="{B762DDB7-9E11-457D-9763-DFEB6FFBBDAC}" destId="{ED3E8109-74AF-46CB-90CB-D570CA831485}" srcOrd="0" destOrd="0" presId="urn:microsoft.com/office/officeart/2005/8/layout/cycle7"/>
    <dgm:cxn modelId="{CAD32FFC-B6AC-48DC-AF39-40E04DD1410B}" type="presOf" srcId="{9B9EBE8B-762E-4182-A8B5-8388D59C5B3B}" destId="{918303C3-E456-4202-BA09-F5D968A7E0C0}" srcOrd="1" destOrd="0" presId="urn:microsoft.com/office/officeart/2005/8/layout/cycle7"/>
    <dgm:cxn modelId="{27D0F9FF-1C4B-4C93-85F1-E6F59124B1FB}" type="presOf" srcId="{ED569EBD-14EE-4B60-987C-124BC00E852F}" destId="{6E18D89C-56C5-41D5-826D-19FEC7947443}" srcOrd="1" destOrd="0" presId="urn:microsoft.com/office/officeart/2005/8/layout/cycle7"/>
    <dgm:cxn modelId="{2BD29CEA-F122-4842-A4E6-30F5B3F20913}" type="presParOf" srcId="{EB4ED4C4-1B33-4129-AF7B-7DDBC6662A95}" destId="{427C79EF-4649-4808-8D36-10160719975D}" srcOrd="0" destOrd="0" presId="urn:microsoft.com/office/officeart/2005/8/layout/cycle7"/>
    <dgm:cxn modelId="{3A82D23D-200A-4E16-B1E7-A86E0CC352B7}" type="presParOf" srcId="{EB4ED4C4-1B33-4129-AF7B-7DDBC6662A95}" destId="{8C79A34E-2E5C-4E03-8B85-F7E773D17119}" srcOrd="1" destOrd="0" presId="urn:microsoft.com/office/officeart/2005/8/layout/cycle7"/>
    <dgm:cxn modelId="{13550596-ACF8-4C03-BC5D-8AFA903353C7}" type="presParOf" srcId="{8C79A34E-2E5C-4E03-8B85-F7E773D17119}" destId="{918303C3-E456-4202-BA09-F5D968A7E0C0}" srcOrd="0" destOrd="0" presId="urn:microsoft.com/office/officeart/2005/8/layout/cycle7"/>
    <dgm:cxn modelId="{7690511D-5F3C-403B-92B7-3526DADE68C3}" type="presParOf" srcId="{EB4ED4C4-1B33-4129-AF7B-7DDBC6662A95}" destId="{ED3E8109-74AF-46CB-90CB-D570CA831485}" srcOrd="2" destOrd="0" presId="urn:microsoft.com/office/officeart/2005/8/layout/cycle7"/>
    <dgm:cxn modelId="{2EF425F1-D2F8-4503-8299-3D55BA41AD0D}" type="presParOf" srcId="{EB4ED4C4-1B33-4129-AF7B-7DDBC6662A95}" destId="{8A8A0DA6-E900-4542-BF23-0F7CCC68761B}" srcOrd="3" destOrd="0" presId="urn:microsoft.com/office/officeart/2005/8/layout/cycle7"/>
    <dgm:cxn modelId="{ADC0C9A9-6AA0-42E9-940D-9987A58C035A}" type="presParOf" srcId="{8A8A0DA6-E900-4542-BF23-0F7CCC68761B}" destId="{D8EF3E11-15E3-47CE-ADA5-326466C0B02C}" srcOrd="0" destOrd="0" presId="urn:microsoft.com/office/officeart/2005/8/layout/cycle7"/>
    <dgm:cxn modelId="{7AA42F9A-265F-4386-9295-3F5E0653C77A}" type="presParOf" srcId="{EB4ED4C4-1B33-4129-AF7B-7DDBC6662A95}" destId="{313CA8DF-AEA2-416B-A74C-F6AD5E2529FA}" srcOrd="4" destOrd="0" presId="urn:microsoft.com/office/officeart/2005/8/layout/cycle7"/>
    <dgm:cxn modelId="{ADEBB301-EB83-43AB-B454-E8BB17EFDDE4}" type="presParOf" srcId="{EB4ED4C4-1B33-4129-AF7B-7DDBC6662A95}" destId="{63E034D7-FF49-4203-8CD5-C5B2AC8B8C63}" srcOrd="5" destOrd="0" presId="urn:microsoft.com/office/officeart/2005/8/layout/cycle7"/>
    <dgm:cxn modelId="{A9C150B3-32BA-41A7-84EF-BFD1DFA82527}" type="presParOf" srcId="{63E034D7-FF49-4203-8CD5-C5B2AC8B8C63}" destId="{6E18D89C-56C5-41D5-826D-19FEC7947443}" srcOrd="0" destOrd="0" presId="urn:microsoft.com/office/officeart/2005/8/layout/cycle7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27C79EF-4649-4808-8D36-10160719975D}">
      <dsp:nvSpPr>
        <dsp:cNvPr id="0" name=""/>
        <dsp:cNvSpPr/>
      </dsp:nvSpPr>
      <dsp:spPr>
        <a:xfrm>
          <a:off x="1501480" y="2066051"/>
          <a:ext cx="1347281" cy="45053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shade val="5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shade val="5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shade val="5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solidFill>
                <a:schemeClr val="tx1"/>
              </a:solidFill>
            </a:rPr>
            <a:t>Coupling Library (preCICE)</a:t>
          </a:r>
          <a:endParaRPr lang="en-DE" sz="1050" kern="1200" dirty="0">
            <a:solidFill>
              <a:schemeClr val="tx1"/>
            </a:solidFill>
          </a:endParaRPr>
        </a:p>
      </dsp:txBody>
      <dsp:txXfrm>
        <a:off x="1514676" y="2079247"/>
        <a:ext cx="1320889" cy="424146"/>
      </dsp:txXfrm>
    </dsp:sp>
    <dsp:sp modelId="{8C79A34E-2E5C-4E03-8B85-F7E773D17119}">
      <dsp:nvSpPr>
        <dsp:cNvPr id="0" name=""/>
        <dsp:cNvSpPr/>
      </dsp:nvSpPr>
      <dsp:spPr>
        <a:xfrm rot="18968065">
          <a:off x="2392354" y="1832436"/>
          <a:ext cx="346954" cy="166693"/>
        </a:xfrm>
        <a:prstGeom prst="left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shade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shade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shade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DE" sz="700" kern="1200"/>
        </a:p>
      </dsp:txBody>
      <dsp:txXfrm>
        <a:off x="2442362" y="1865775"/>
        <a:ext cx="246938" cy="100015"/>
      </dsp:txXfrm>
    </dsp:sp>
    <dsp:sp modelId="{ED3E8109-74AF-46CB-90CB-D570CA831485}">
      <dsp:nvSpPr>
        <dsp:cNvPr id="0" name=""/>
        <dsp:cNvSpPr/>
      </dsp:nvSpPr>
      <dsp:spPr>
        <a:xfrm>
          <a:off x="2563150" y="495655"/>
          <a:ext cx="1639208" cy="126985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shade val="50000"/>
                <a:hueOff val="-62548"/>
                <a:satOff val="-44613"/>
                <a:lumOff val="34835"/>
                <a:alphaOff val="0"/>
                <a:shade val="51000"/>
                <a:satMod val="130000"/>
              </a:schemeClr>
            </a:gs>
            <a:gs pos="80000">
              <a:schemeClr val="accent1">
                <a:shade val="50000"/>
                <a:hueOff val="-62548"/>
                <a:satOff val="-44613"/>
                <a:lumOff val="34835"/>
                <a:alphaOff val="0"/>
                <a:shade val="93000"/>
                <a:satMod val="130000"/>
              </a:schemeClr>
            </a:gs>
            <a:gs pos="100000">
              <a:schemeClr val="accent1">
                <a:shade val="50000"/>
                <a:hueOff val="-62548"/>
                <a:satOff val="-44613"/>
                <a:lumOff val="3483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solidFill>
                <a:schemeClr val="tx1"/>
              </a:solidFill>
            </a:rPr>
            <a:t>”Motion”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solidFill>
                <a:schemeClr val="tx1"/>
              </a:solidFill>
            </a:rPr>
            <a:t>Solver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solidFill>
                <a:schemeClr val="bg1"/>
              </a:solidFill>
            </a:rPr>
            <a:t>Input: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solidFill>
                <a:srgbClr val="FF0000"/>
              </a:solidFill>
            </a:rPr>
            <a:t>Forces, Moments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solidFill>
                <a:schemeClr val="bg1"/>
              </a:solidFill>
            </a:rPr>
            <a:t>Output: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solidFill>
                <a:srgbClr val="7030A0"/>
              </a:solidFill>
            </a:rPr>
            <a:t>Positions, Velocities</a:t>
          </a:r>
          <a:endParaRPr lang="en-DE" sz="1100" kern="1200" dirty="0">
            <a:solidFill>
              <a:srgbClr val="7030A0"/>
            </a:solidFill>
          </a:endParaRPr>
        </a:p>
      </dsp:txBody>
      <dsp:txXfrm>
        <a:off x="2600343" y="532848"/>
        <a:ext cx="1564822" cy="1195473"/>
      </dsp:txXfrm>
    </dsp:sp>
    <dsp:sp modelId="{8A8A0DA6-E900-4542-BF23-0F7CCC68761B}">
      <dsp:nvSpPr>
        <dsp:cNvPr id="0" name=""/>
        <dsp:cNvSpPr/>
      </dsp:nvSpPr>
      <dsp:spPr>
        <a:xfrm rot="10800006">
          <a:off x="1792520" y="944500"/>
          <a:ext cx="779895" cy="372167"/>
        </a:xfrm>
        <a:prstGeom prst="left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shade val="90000"/>
                <a:hueOff val="-66436"/>
                <a:satOff val="-45051"/>
                <a:lumOff val="31279"/>
                <a:alphaOff val="0"/>
                <a:shade val="51000"/>
                <a:satMod val="130000"/>
              </a:schemeClr>
            </a:gs>
            <a:gs pos="80000">
              <a:schemeClr val="accent1">
                <a:shade val="90000"/>
                <a:hueOff val="-66436"/>
                <a:satOff val="-45051"/>
                <a:lumOff val="31279"/>
                <a:alphaOff val="0"/>
                <a:shade val="93000"/>
                <a:satMod val="130000"/>
              </a:schemeClr>
            </a:gs>
            <a:gs pos="100000">
              <a:schemeClr val="accent1">
                <a:shade val="90000"/>
                <a:hueOff val="-66436"/>
                <a:satOff val="-45051"/>
                <a:lumOff val="31279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DE" sz="1600" kern="1200"/>
        </a:p>
      </dsp:txBody>
      <dsp:txXfrm rot="10800000">
        <a:off x="1904170" y="1018933"/>
        <a:ext cx="556595" cy="223301"/>
      </dsp:txXfrm>
    </dsp:sp>
    <dsp:sp modelId="{313CA8DF-AEA2-416B-A74C-F6AD5E2529FA}">
      <dsp:nvSpPr>
        <dsp:cNvPr id="0" name=""/>
        <dsp:cNvSpPr/>
      </dsp:nvSpPr>
      <dsp:spPr>
        <a:xfrm>
          <a:off x="205332" y="512454"/>
          <a:ext cx="1596452" cy="1236254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shade val="50000"/>
                <a:hueOff val="-62548"/>
                <a:satOff val="-44613"/>
                <a:lumOff val="34835"/>
                <a:alphaOff val="0"/>
                <a:shade val="51000"/>
                <a:satMod val="130000"/>
              </a:schemeClr>
            </a:gs>
            <a:gs pos="80000">
              <a:schemeClr val="accent1">
                <a:shade val="50000"/>
                <a:hueOff val="-62548"/>
                <a:satOff val="-44613"/>
                <a:lumOff val="34835"/>
                <a:alphaOff val="0"/>
                <a:shade val="93000"/>
                <a:satMod val="130000"/>
              </a:schemeClr>
            </a:gs>
            <a:gs pos="100000">
              <a:schemeClr val="accent1">
                <a:shade val="50000"/>
                <a:hueOff val="-62548"/>
                <a:satOff val="-44613"/>
                <a:lumOff val="3483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solidFill>
                <a:schemeClr val="tx1"/>
              </a:solidFill>
            </a:rPr>
            <a:t>Aerodynamic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solidFill>
                <a:schemeClr val="tx1"/>
              </a:solidFill>
            </a:rPr>
            <a:t>Solver (DUST)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solidFill>
                <a:schemeClr val="bg1"/>
              </a:solidFill>
            </a:rPr>
            <a:t>Input: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solidFill>
                <a:srgbClr val="7030A0"/>
              </a:solidFill>
            </a:rPr>
            <a:t>Positions, Velocities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solidFill>
                <a:schemeClr val="bg1"/>
              </a:solidFill>
            </a:rPr>
            <a:t>Output: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solidFill>
                <a:srgbClr val="FF0000"/>
              </a:solidFill>
            </a:rPr>
            <a:t>Forces, Moments</a:t>
          </a:r>
          <a:endParaRPr lang="en-DE" sz="1100" kern="1200" dirty="0">
            <a:solidFill>
              <a:srgbClr val="FF0000"/>
            </a:solidFill>
          </a:endParaRPr>
        </a:p>
      </dsp:txBody>
      <dsp:txXfrm>
        <a:off x="241541" y="548663"/>
        <a:ext cx="1524034" cy="1163836"/>
      </dsp:txXfrm>
    </dsp:sp>
    <dsp:sp modelId="{63E034D7-FF49-4203-8CD5-C5B2AC8B8C63}">
      <dsp:nvSpPr>
        <dsp:cNvPr id="0" name=""/>
        <dsp:cNvSpPr/>
      </dsp:nvSpPr>
      <dsp:spPr>
        <a:xfrm rot="2684047">
          <a:off x="1614123" y="1826855"/>
          <a:ext cx="346954" cy="161049"/>
        </a:xfrm>
        <a:prstGeom prst="left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shade val="90000"/>
                <a:hueOff val="-66436"/>
                <a:satOff val="-45051"/>
                <a:lumOff val="31279"/>
                <a:alphaOff val="0"/>
                <a:shade val="51000"/>
                <a:satMod val="130000"/>
              </a:schemeClr>
            </a:gs>
            <a:gs pos="80000">
              <a:schemeClr val="accent1">
                <a:shade val="90000"/>
                <a:hueOff val="-66436"/>
                <a:satOff val="-45051"/>
                <a:lumOff val="31279"/>
                <a:alphaOff val="0"/>
                <a:shade val="93000"/>
                <a:satMod val="130000"/>
              </a:schemeClr>
            </a:gs>
            <a:gs pos="100000">
              <a:schemeClr val="accent1">
                <a:shade val="90000"/>
                <a:hueOff val="-66436"/>
                <a:satOff val="-45051"/>
                <a:lumOff val="31279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DE" sz="600" kern="1200" dirty="0"/>
        </a:p>
      </dsp:txBody>
      <dsp:txXfrm>
        <a:off x="1662438" y="1859065"/>
        <a:ext cx="250324" cy="9662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7">
  <dgm:title val=""/>
  <dgm:desc val=""/>
  <dgm:catLst>
    <dgm:cat type="cycle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</dgm:alg>
      </dgm:if>
      <dgm:else name="Name3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onstrLst>
      <dgm:constr type="diam" refType="w"/>
      <dgm:constr type="w" for="ch" ptType="node" refType="w"/>
      <dgm:constr type="primFontSz" for="ch" ptType="node" op="equ" val="65"/>
      <dgm:constr type="w" for="ch" forName="sibTrans" refType="w" refFor="ch" refPtType="node" op="equ" fact="0.35"/>
      <dgm:constr type="connDist" for="ch" forName="sibTrans" op="equ"/>
      <dgm:constr type="primFontSz" for="des" forName="connectorText" op="equ" val="55"/>
      <dgm:constr type="primFontSz" for="des" forName="connectorText" refType="primFontSz" refFor="ch" refPtType="node" op="lte" fact="0.8"/>
      <dgm:constr type="sibSp" refType="w" refFor="ch" refPtType="node" op="equ" fact="0.65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4">
        <dgm:if name="Name5" axis="par ch" ptType="doc node" func="cnt" op="gt" val="1">
          <dgm:forEach name="sibTransForEach" axis="followSib" ptType="sibTrans" hideLastTrans="0" cnt="1">
            <dgm:layoutNode name="sibTrans">
              <dgm:choose name="Name6">
                <dgm:if name="Name7" axis="par ch" ptType="doc node" func="posEven" op="equ" val="1">
                  <dgm:alg type="conn">
                    <dgm:param type="begPts" val="radial"/>
                    <dgm:param type="endPts" val="radial"/>
                    <dgm:param type="begSty" val="arr"/>
                    <dgm:param type="endSty" val="arr"/>
                  </dgm:alg>
                </dgm:if>
                <dgm:else name="Name8">
                  <dgm:alg type="conn">
                    <dgm:param type="begPts" val="auto"/>
                    <dgm:param type="endPts" val="auto"/>
                    <dgm:param type="begSty" val="arr"/>
                    <dgm:param type="endSty" val="arr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5"/>
                <dgm:constr type="connDist"/>
                <dgm:constr type="begPad" refType="connDist" fact="0.1"/>
                <dgm:constr type="endPad" refType="connDist" fact="0.1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9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326829" cy="496412"/>
          </a:xfrm>
          <a:prstGeom prst="rect">
            <a:avLst/>
          </a:prstGeom>
        </p:spPr>
        <p:txBody>
          <a:bodyPr vert="horz" lIns="95571" tIns="47786" rIns="95571" bIns="47786" rtlCol="0"/>
          <a:lstStyle>
            <a:lvl1pPr algn="l">
              <a:defRPr sz="1300">
                <a:latin typeface="Arial" charset="0"/>
              </a:defRPr>
            </a:lvl1pPr>
          </a:lstStyle>
          <a:p>
            <a:pPr>
              <a:defRPr/>
            </a:pPr>
            <a:r>
              <a:rPr lang="de-DE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äsentation der FH Aachen </a:t>
            </a:r>
          </a:p>
          <a:p>
            <a:pPr>
              <a:defRPr/>
            </a:pPr>
            <a:r>
              <a:rPr lang="de-DE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such der Frau Staatssekretärin Storsberg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412"/>
          </a:xfrm>
          <a:prstGeom prst="rect">
            <a:avLst/>
          </a:prstGeom>
        </p:spPr>
        <p:txBody>
          <a:bodyPr vert="horz" lIns="95571" tIns="47786" rIns="95571" bIns="47786" rtlCol="0"/>
          <a:lstStyle>
            <a:lvl1pPr algn="r">
              <a:defRPr sz="1300">
                <a:latin typeface="Arial" charset="0"/>
              </a:defRPr>
            </a:lvl1pPr>
          </a:lstStyle>
          <a:p>
            <a:pPr>
              <a:defRPr/>
            </a:pPr>
            <a:r>
              <a:rPr lang="de-DE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8.02.2018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30092"/>
            <a:ext cx="2945659" cy="496412"/>
          </a:xfrm>
          <a:prstGeom prst="rect">
            <a:avLst/>
          </a:prstGeom>
        </p:spPr>
        <p:txBody>
          <a:bodyPr vert="horz" lIns="95571" tIns="47786" rIns="95571" bIns="47786" rtlCol="0" anchor="b"/>
          <a:lstStyle>
            <a:lvl1pPr algn="l"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30092"/>
            <a:ext cx="2945659" cy="496412"/>
          </a:xfrm>
          <a:prstGeom prst="rect">
            <a:avLst/>
          </a:prstGeom>
        </p:spPr>
        <p:txBody>
          <a:bodyPr vert="horz" wrap="square" lIns="95571" tIns="47786" rIns="95571" bIns="47786" numCol="1" anchor="b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fld id="{7D1B5139-9BE8-42B7-9CBC-4B8E761098A0}" type="slidenum">
              <a:rPr lang="de-DE" altLang="de-DE"/>
              <a:pPr/>
              <a:t>‹#›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7959465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2"/>
          </a:xfrm>
          <a:prstGeom prst="rect">
            <a:avLst/>
          </a:prstGeom>
        </p:spPr>
        <p:txBody>
          <a:bodyPr vert="horz" lIns="95571" tIns="47786" rIns="95571" bIns="47786" rtlCol="0"/>
          <a:lstStyle>
            <a:lvl1pPr algn="l"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2"/>
          </a:xfrm>
          <a:prstGeom prst="rect">
            <a:avLst/>
          </a:prstGeom>
        </p:spPr>
        <p:txBody>
          <a:bodyPr vert="horz" lIns="95571" tIns="47786" rIns="95571" bIns="47786" rtlCol="0"/>
          <a:lstStyle>
            <a:lvl1pPr algn="r">
              <a:defRPr sz="1300">
                <a:latin typeface="Arial" charset="0"/>
              </a:defRPr>
            </a:lvl1pPr>
          </a:lstStyle>
          <a:p>
            <a:pPr>
              <a:defRPr/>
            </a:pPr>
            <a:fld id="{E0899DA3-510F-4BD9-8AB6-BD11747C0EAE}" type="datetimeFigureOut">
              <a:rPr lang="de-DE"/>
              <a:pPr>
                <a:defRPr/>
              </a:pPr>
              <a:t>30.09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13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71" tIns="47786" rIns="95571" bIns="47786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5571" tIns="47786" rIns="95571" bIns="47786" rtlCol="0">
            <a:normAutofit/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0092"/>
            <a:ext cx="2945659" cy="496412"/>
          </a:xfrm>
          <a:prstGeom prst="rect">
            <a:avLst/>
          </a:prstGeom>
        </p:spPr>
        <p:txBody>
          <a:bodyPr vert="horz" lIns="95571" tIns="47786" rIns="95571" bIns="47786" rtlCol="0" anchor="b"/>
          <a:lstStyle>
            <a:lvl1pPr algn="l"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30092"/>
            <a:ext cx="2945659" cy="496412"/>
          </a:xfrm>
          <a:prstGeom prst="rect">
            <a:avLst/>
          </a:prstGeom>
        </p:spPr>
        <p:txBody>
          <a:bodyPr vert="horz" wrap="square" lIns="95571" tIns="47786" rIns="95571" bIns="47786" numCol="1" anchor="b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fld id="{6A56DBB8-1EE3-4DB2-AAE1-0A640DD0A30D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64556806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6038" y="723900"/>
            <a:ext cx="6416675" cy="36099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de-DE" altLang="de-DE" dirty="0"/>
          </a:p>
        </p:txBody>
      </p:sp>
      <p:sp>
        <p:nvSpPr>
          <p:cNvPr id="14340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9260" indent="-288177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52709" indent="-230543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13792" indent="-230543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74876" indent="-230543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35959" indent="-2305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97042" indent="-2305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8125" indent="-2305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9209" indent="-2305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68F2BEA2-6A02-4C13-A628-8A500209E91A}" type="slidenum">
              <a:rPr lang="de-DE" altLang="de-DE" smtClean="0"/>
              <a:pPr eaLnBrk="1" hangingPunct="1"/>
              <a:t>1</a:t>
            </a:fld>
            <a:endParaRPr lang="de-DE" altLang="de-DE"/>
          </a:p>
        </p:txBody>
      </p:sp>
      <p:sp>
        <p:nvSpPr>
          <p:cNvPr id="2" name="Kopfzeilenplatzhalter 1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äsentation der FH Aachen</a:t>
            </a:r>
          </a:p>
        </p:txBody>
      </p:sp>
    </p:spTree>
    <p:extLst>
      <p:ext uri="{BB962C8B-B14F-4D97-AF65-F5344CB8AC3E}">
        <p14:creationId xmlns:p14="http://schemas.microsoft.com/office/powerpoint/2010/main" val="1198614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56DBB8-1EE3-4DB2-AAE1-0A640DD0A30D}" type="slidenum">
              <a:rPr lang="de-DE" altLang="de-DE" smtClean="0"/>
              <a:pPr/>
              <a:t>5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4056838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56DBB8-1EE3-4DB2-AAE1-0A640DD0A30D}" type="slidenum">
              <a:rPr lang="de-DE" altLang="de-DE" smtClean="0"/>
              <a:pPr/>
              <a:t>9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8212232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DC961E5-2B80-BEED-3212-50BEC47E85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4F364CB-A902-2ED2-D703-FDA71B7D5B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altLang="de-DE" sz="800">
                <a:latin typeface="Verdana" panose="020B0604030504040204" pitchFamily="34" charset="0"/>
              </a:rPr>
              <a:t>19. April 2018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1F3B967-5BA5-8E5E-1C62-4FCD39BC29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BF04C9B-325A-FF34-7666-6EBCD0B54F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8C5779-B519-4BE8-822A-0AA5189C9EB5}" type="slidenum">
              <a:rPr lang="de-DE" altLang="de-DE" smtClean="0"/>
              <a:pPr/>
              <a:t>‹#›</a:t>
            </a:fld>
            <a:endParaRPr lang="de-DE" alt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33725C0F-0287-2FC7-04EA-1FC36E1C73AD}"/>
              </a:ext>
            </a:extLst>
          </p:cNvPr>
          <p:cNvSpPr/>
          <p:nvPr userDrawn="1"/>
        </p:nvSpPr>
        <p:spPr>
          <a:xfrm>
            <a:off x="-1" y="-10217"/>
            <a:ext cx="10171201" cy="57252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" name="Picture 8">
            <a:extLst>
              <a:ext uri="{FF2B5EF4-FFF2-40B4-BE49-F238E27FC236}">
                <a16:creationId xmlns:a16="http://schemas.microsoft.com/office/drawing/2014/main" id="{6A36EEE2-ED28-F004-1D3C-B9D7521399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99616" y="5145090"/>
            <a:ext cx="1271587" cy="569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Grafik 11" descr="FHAAC_RGB_oBL-r.jpg">
            <a:extLst>
              <a:ext uri="{FF2B5EF4-FFF2-40B4-BE49-F238E27FC236}">
                <a16:creationId xmlns:a16="http://schemas.microsoft.com/office/drawing/2014/main" id="{9E27722A-4E38-F683-590B-99399E10F48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7662" y="112712"/>
            <a:ext cx="510847" cy="1630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Straight Connector 6">
            <a:extLst>
              <a:ext uri="{FF2B5EF4-FFF2-40B4-BE49-F238E27FC236}">
                <a16:creationId xmlns:a16="http://schemas.microsoft.com/office/drawing/2014/main" id="{1E3EB3C4-115E-AEF8-9E66-FB2D3C03115F}"/>
              </a:ext>
            </a:extLst>
          </p:cNvPr>
          <p:cNvCxnSpPr>
            <a:cxnSpLocks/>
          </p:cNvCxnSpPr>
          <p:nvPr userDrawn="1"/>
        </p:nvCxnSpPr>
        <p:spPr>
          <a:xfrm>
            <a:off x="471490" y="5600083"/>
            <a:ext cx="3911055" cy="0"/>
          </a:xfrm>
          <a:prstGeom prst="line">
            <a:avLst/>
          </a:prstGeom>
          <a:ln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6">
            <a:extLst>
              <a:ext uri="{FF2B5EF4-FFF2-40B4-BE49-F238E27FC236}">
                <a16:creationId xmlns:a16="http://schemas.microsoft.com/office/drawing/2014/main" id="{66758074-C519-6D6D-976E-AA4A7C732015}"/>
              </a:ext>
            </a:extLst>
          </p:cNvPr>
          <p:cNvCxnSpPr>
            <a:cxnSpLocks/>
          </p:cNvCxnSpPr>
          <p:nvPr userDrawn="1"/>
        </p:nvCxnSpPr>
        <p:spPr>
          <a:xfrm>
            <a:off x="471490" y="3073524"/>
            <a:ext cx="3911055" cy="0"/>
          </a:xfrm>
          <a:prstGeom prst="line">
            <a:avLst/>
          </a:prstGeom>
          <a:ln w="5715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04538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ein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6"/>
          <p:cNvCxnSpPr>
            <a:cxnSpLocks/>
          </p:cNvCxnSpPr>
          <p:nvPr/>
        </p:nvCxnSpPr>
        <p:spPr>
          <a:xfrm>
            <a:off x="317502" y="983704"/>
            <a:ext cx="915498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7"/>
          <p:cNvCxnSpPr>
            <a:cxnSpLocks/>
          </p:cNvCxnSpPr>
          <p:nvPr/>
        </p:nvCxnSpPr>
        <p:spPr>
          <a:xfrm>
            <a:off x="319267" y="5430839"/>
            <a:ext cx="915322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/>
          <p:cNvSpPr txBox="1">
            <a:spLocks noChangeArrowheads="1"/>
          </p:cNvSpPr>
          <p:nvPr/>
        </p:nvSpPr>
        <p:spPr bwMode="auto">
          <a:xfrm>
            <a:off x="317500" y="5458735"/>
            <a:ext cx="55446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 eaLnBrk="1" hangingPunct="1"/>
            <a:r>
              <a:rPr lang="en-GB" altLang="de-DE" sz="800" b="1" dirty="0">
                <a:latin typeface="+mj-lt"/>
                <a:cs typeface="Times New Roman" panose="02020603050405020304" pitchFamily="18" charset="0"/>
              </a:rPr>
              <a:t>© FH AACHEN </a:t>
            </a:r>
            <a:r>
              <a:rPr lang="en-GB" altLang="de-DE" sz="800" b="0" dirty="0">
                <a:latin typeface="+mj-lt"/>
                <a:cs typeface="Times New Roman" panose="02020603050405020304" pitchFamily="18" charset="0"/>
              </a:rPr>
              <a:t>| Shreyas Ashwin Sunder | Aerospace Engineering | Colloquium</a:t>
            </a:r>
            <a:endParaRPr lang="en-GB" altLang="de-DE" sz="800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320000" y="95984"/>
            <a:ext cx="8960000" cy="385252"/>
          </a:xfrm>
        </p:spPr>
        <p:txBody>
          <a:bodyPr/>
          <a:lstStyle>
            <a:lvl1pPr algn="l">
              <a:defRPr sz="2400" b="0">
                <a:solidFill>
                  <a:schemeClr val="accent3">
                    <a:lumMod val="75000"/>
                  </a:schemeClr>
                </a:solidFill>
                <a:latin typeface="Verdana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" hasCustomPrompt="1"/>
          </p:nvPr>
        </p:nvSpPr>
        <p:spPr>
          <a:xfrm>
            <a:off x="317500" y="1129308"/>
            <a:ext cx="8960000" cy="415228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600">
                <a:solidFill>
                  <a:schemeClr val="tx1"/>
                </a:solidFill>
                <a:latin typeface="Verdana" pitchFamily="34" charset="0"/>
              </a:defRPr>
            </a:lvl1pPr>
            <a:lvl2pPr marL="180970" indent="0">
              <a:spcBef>
                <a:spcPts val="0"/>
              </a:spcBef>
              <a:buFont typeface="Symbol" panose="05050102010706020507" pitchFamily="18" charset="2"/>
              <a:buNone/>
              <a:defRPr sz="1600">
                <a:solidFill>
                  <a:schemeClr val="tx1"/>
                </a:solidFill>
                <a:latin typeface="Verdana" pitchFamily="34" charset="0"/>
              </a:defRPr>
            </a:lvl2pPr>
            <a:lvl3pPr marL="355591" indent="0">
              <a:buFont typeface="Symbol" panose="05050102010706020507" pitchFamily="18" charset="2"/>
              <a:buNone/>
              <a:defRPr lang="de-DE" sz="1600" kern="1200" dirty="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814368" indent="-1182658">
              <a:spcBef>
                <a:spcPts val="1600"/>
              </a:spcBef>
              <a:buFont typeface="Arial" panose="020B0604020202020204" pitchFamily="34" charset="0"/>
              <a:buNone/>
              <a:tabLst/>
              <a:defRPr sz="1100">
                <a:solidFill>
                  <a:schemeClr val="tx1"/>
                </a:solidFill>
                <a:latin typeface="Verdana" pitchFamily="34" charset="0"/>
              </a:defRPr>
            </a:lvl4pPr>
            <a:lvl5pPr marL="0" indent="0">
              <a:buFont typeface="Verdana" pitchFamily="34" charset="0"/>
              <a:buNone/>
              <a:defRPr sz="1100">
                <a:solidFill>
                  <a:schemeClr val="tx1"/>
                </a:solidFill>
                <a:latin typeface="Verdana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0"/>
            <a:r>
              <a:rPr lang="de-DE" dirty="0"/>
              <a:t>Zweite Ebene</a:t>
            </a:r>
          </a:p>
          <a:p>
            <a:pPr lvl="0"/>
            <a:r>
              <a:rPr lang="de-DE" dirty="0"/>
              <a:t>Dritte Ebene</a:t>
            </a:r>
          </a:p>
          <a:p>
            <a:pPr lvl="0"/>
            <a:r>
              <a:rPr lang="de-DE" dirty="0"/>
              <a:t>Vierte Ebene</a:t>
            </a:r>
          </a:p>
          <a:p>
            <a:pPr lvl="0"/>
            <a:r>
              <a:rPr lang="de-DE" dirty="0"/>
              <a:t>Fünfte Ebene</a:t>
            </a:r>
          </a:p>
          <a:p>
            <a:pPr lvl="0"/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6B1E3CAF-2CC4-2DA2-67A3-7147FBF5EDB4}"/>
              </a:ext>
            </a:extLst>
          </p:cNvPr>
          <p:cNvSpPr txBox="1"/>
          <p:nvPr userDrawn="1"/>
        </p:nvSpPr>
        <p:spPr>
          <a:xfrm>
            <a:off x="7672866" y="5458735"/>
            <a:ext cx="179962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eaLnBrk="1" hangingPunct="1">
              <a:tabLst>
                <a:tab pos="8077200" algn="r"/>
              </a:tabLst>
              <a:defRPr sz="800" b="1">
                <a:latin typeface="+mj-lt"/>
                <a:cs typeface="Times New Roman" panose="02020603050405020304" pitchFamily="18" charset="0"/>
              </a:defRPr>
            </a:lvl1pPr>
            <a:lvl2pPr marL="742950" indent="-285750" eaLnBrk="0" hangingPunct="0">
              <a:tabLst>
                <a:tab pos="8077200" algn="r"/>
              </a:tabLst>
            </a:lvl2pPr>
            <a:lvl3pPr marL="1143000" indent="-228600" eaLnBrk="0" hangingPunct="0">
              <a:tabLst>
                <a:tab pos="8077200" algn="r"/>
              </a:tabLst>
            </a:lvl3pPr>
            <a:lvl4pPr marL="1600200" indent="-228600" eaLnBrk="0" hangingPunct="0">
              <a:tabLst>
                <a:tab pos="8077200" algn="r"/>
              </a:tabLst>
            </a:lvl4pPr>
            <a:lvl5pPr marL="2057400" indent="-228600" eaLnBrk="0" hangingPunct="0">
              <a:tabLst>
                <a:tab pos="8077200" algn="r"/>
              </a:tabLst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</a:lvl9pPr>
          </a:lstStyle>
          <a:p>
            <a:pPr lvl="0" algn="r"/>
            <a:fld id="{FFD8CB62-5868-44D9-AEDB-6164C829A963}" type="datetime4">
              <a:rPr lang="en-GB" altLang="de-DE" sz="800" b="0" smtClean="0"/>
              <a:pPr lvl="0" algn="r"/>
              <a:t>30 September 2024</a:t>
            </a:fld>
            <a:r>
              <a:rPr lang="en-GB" altLang="de-DE" sz="800" b="0" dirty="0"/>
              <a:t>  |  </a:t>
            </a:r>
            <a:fld id="{2B3CAFD9-4309-4113-97D1-8D075C278ED5}" type="slidenum">
              <a:rPr lang="en-GB" altLang="de-DE" sz="800" b="0" smtClean="0"/>
              <a:pPr lvl="0" algn="r"/>
              <a:t>‹#›</a:t>
            </a:fld>
            <a:endParaRPr lang="de-DE" sz="800" b="0" dirty="0"/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E883E8A4-3AA2-A3CA-50AE-6C986FCADE5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17500" y="481237"/>
            <a:ext cx="8960000" cy="385252"/>
          </a:xfrm>
        </p:spPr>
        <p:txBody>
          <a:bodyPr anchor="b"/>
          <a:lstStyle>
            <a:lvl1pPr>
              <a:defRPr lang="de-DE" altLang="de-DE" sz="2000" b="0" kern="1200" dirty="0" smtClean="0">
                <a:solidFill>
                  <a:srgbClr val="00B1AC"/>
                </a:solidFill>
                <a:latin typeface="Verdana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378069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6"/>
          <p:cNvCxnSpPr>
            <a:cxnSpLocks/>
          </p:cNvCxnSpPr>
          <p:nvPr/>
        </p:nvCxnSpPr>
        <p:spPr>
          <a:xfrm>
            <a:off x="317502" y="983704"/>
            <a:ext cx="915498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7"/>
          <p:cNvCxnSpPr>
            <a:cxnSpLocks/>
          </p:cNvCxnSpPr>
          <p:nvPr/>
        </p:nvCxnSpPr>
        <p:spPr>
          <a:xfrm>
            <a:off x="319267" y="5430839"/>
            <a:ext cx="915322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320000" y="95984"/>
            <a:ext cx="8960000" cy="385252"/>
          </a:xfrm>
        </p:spPr>
        <p:txBody>
          <a:bodyPr/>
          <a:lstStyle>
            <a:lvl1pPr algn="l">
              <a:defRPr sz="2400" b="0">
                <a:solidFill>
                  <a:schemeClr val="accent3">
                    <a:lumMod val="75000"/>
                  </a:schemeClr>
                </a:solidFill>
                <a:latin typeface="Verdana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17502" y="1129308"/>
            <a:ext cx="5122540" cy="415228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Verdana" pitchFamily="34" charset="0"/>
              </a:defRPr>
            </a:lvl1pPr>
            <a:lvl2pPr marL="0" indent="0">
              <a:spcBef>
                <a:spcPts val="2000"/>
              </a:spcBef>
              <a:buNone/>
              <a:defRPr sz="1600">
                <a:solidFill>
                  <a:schemeClr val="tx1"/>
                </a:solidFill>
                <a:latin typeface="Verdana" pitchFamily="34" charset="0"/>
              </a:defRPr>
            </a:lvl2pPr>
            <a:lvl3pPr marL="723882" indent="-368291">
              <a:buFont typeface="Verdana" pitchFamily="34" charset="0"/>
              <a:buChar char="&gt;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0" indent="0">
              <a:spcBef>
                <a:spcPts val="1600"/>
              </a:spcBef>
              <a:buFontTx/>
              <a:buNone/>
              <a:defRPr sz="1100">
                <a:solidFill>
                  <a:schemeClr val="tx1"/>
                </a:solidFill>
                <a:latin typeface="Verdana" pitchFamily="34" charset="0"/>
              </a:defRPr>
            </a:lvl4pPr>
            <a:lvl5pPr marL="723882" indent="-368291">
              <a:buFont typeface="Verdana" pitchFamily="34" charset="0"/>
              <a:buChar char="&gt;"/>
              <a:defRPr sz="1100">
                <a:solidFill>
                  <a:schemeClr val="tx1"/>
                </a:solidFill>
                <a:latin typeface="Verdana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6B1E3CAF-2CC4-2DA2-67A3-7147FBF5EDB4}"/>
              </a:ext>
            </a:extLst>
          </p:cNvPr>
          <p:cNvSpPr txBox="1"/>
          <p:nvPr userDrawn="1"/>
        </p:nvSpPr>
        <p:spPr>
          <a:xfrm>
            <a:off x="7672866" y="5458735"/>
            <a:ext cx="179962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eaLnBrk="1" hangingPunct="1">
              <a:tabLst>
                <a:tab pos="8077200" algn="r"/>
              </a:tabLst>
              <a:defRPr sz="800" b="1">
                <a:latin typeface="+mj-lt"/>
                <a:cs typeface="Times New Roman" panose="02020603050405020304" pitchFamily="18" charset="0"/>
              </a:defRPr>
            </a:lvl1pPr>
            <a:lvl2pPr marL="742950" indent="-285750" eaLnBrk="0" hangingPunct="0">
              <a:tabLst>
                <a:tab pos="8077200" algn="r"/>
              </a:tabLst>
            </a:lvl2pPr>
            <a:lvl3pPr marL="1143000" indent="-228600" eaLnBrk="0" hangingPunct="0">
              <a:tabLst>
                <a:tab pos="8077200" algn="r"/>
              </a:tabLst>
            </a:lvl3pPr>
            <a:lvl4pPr marL="1600200" indent="-228600" eaLnBrk="0" hangingPunct="0">
              <a:tabLst>
                <a:tab pos="8077200" algn="r"/>
              </a:tabLst>
            </a:lvl4pPr>
            <a:lvl5pPr marL="2057400" indent="-228600" eaLnBrk="0" hangingPunct="0">
              <a:tabLst>
                <a:tab pos="8077200" algn="r"/>
              </a:tabLst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</a:lvl9pPr>
          </a:lstStyle>
          <a:p>
            <a:pPr lvl="0" algn="r"/>
            <a:fld id="{FFD8CB62-5868-44D9-AEDB-6164C829A963}" type="datetime4">
              <a:rPr lang="en-GB" altLang="de-DE" sz="800" b="0" smtClean="0"/>
              <a:pPr lvl="0" algn="r"/>
              <a:t>30 September 2024</a:t>
            </a:fld>
            <a:r>
              <a:rPr lang="en-GB" altLang="de-DE" sz="800" b="0" dirty="0"/>
              <a:t>  |  </a:t>
            </a:r>
            <a:fld id="{2B3CAFD9-4309-4113-97D1-8D075C278ED5}" type="slidenum">
              <a:rPr lang="en-GB" altLang="de-DE" sz="800" b="0" smtClean="0"/>
              <a:pPr lvl="0" algn="r"/>
              <a:t>‹#›</a:t>
            </a:fld>
            <a:endParaRPr lang="de-DE" sz="800" b="0" dirty="0"/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E883E8A4-3AA2-A3CA-50AE-6C986FCADE5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17500" y="481237"/>
            <a:ext cx="8960000" cy="385252"/>
          </a:xfrm>
        </p:spPr>
        <p:txBody>
          <a:bodyPr anchor="b"/>
          <a:lstStyle>
            <a:lvl1pPr>
              <a:defRPr lang="de-DE" altLang="de-DE" sz="2000" b="0" kern="1200" dirty="0" smtClean="0">
                <a:solidFill>
                  <a:srgbClr val="00B1AC"/>
                </a:solidFill>
                <a:latin typeface="Verdana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E47A5FD2-D07F-10C1-464E-A04AF676CA8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7500" y="5458735"/>
            <a:ext cx="55446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 eaLnBrk="1" hangingPunct="1"/>
            <a:r>
              <a:rPr lang="en-GB" altLang="de-DE" sz="800" b="1" dirty="0">
                <a:latin typeface="+mj-lt"/>
                <a:cs typeface="Times New Roman" panose="02020603050405020304" pitchFamily="18" charset="0"/>
              </a:rPr>
              <a:t>© FH AACHEN </a:t>
            </a:r>
            <a:r>
              <a:rPr lang="en-GB" altLang="de-DE" sz="800" b="0" dirty="0">
                <a:latin typeface="+mj-lt"/>
                <a:cs typeface="Times New Roman" panose="02020603050405020304" pitchFamily="18" charset="0"/>
              </a:rPr>
              <a:t>| Shreyas </a:t>
            </a:r>
            <a:r>
              <a:rPr lang="en-GB" altLang="de-DE" sz="800" b="0">
                <a:latin typeface="+mj-lt"/>
                <a:cs typeface="Times New Roman" panose="02020603050405020304" pitchFamily="18" charset="0"/>
              </a:rPr>
              <a:t>Ashwin Sunder | </a:t>
            </a:r>
            <a:r>
              <a:rPr lang="en-GB" altLang="de-DE" sz="800" b="0" dirty="0">
                <a:latin typeface="+mj-lt"/>
                <a:cs typeface="Times New Roman" panose="02020603050405020304" pitchFamily="18" charset="0"/>
              </a:rPr>
              <a:t>Aerospace Engineering | Colloquium</a:t>
            </a:r>
            <a:endParaRPr lang="en-GB" altLang="de-DE" sz="800" dirty="0">
              <a:latin typeface="+mj-lt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06108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6"/>
          <p:cNvCxnSpPr>
            <a:cxnSpLocks/>
          </p:cNvCxnSpPr>
          <p:nvPr/>
        </p:nvCxnSpPr>
        <p:spPr>
          <a:xfrm>
            <a:off x="317502" y="983704"/>
            <a:ext cx="915498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7"/>
          <p:cNvCxnSpPr>
            <a:cxnSpLocks/>
          </p:cNvCxnSpPr>
          <p:nvPr/>
        </p:nvCxnSpPr>
        <p:spPr>
          <a:xfrm>
            <a:off x="319267" y="5430839"/>
            <a:ext cx="915322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>
            <a:extLst>
              <a:ext uri="{FF2B5EF4-FFF2-40B4-BE49-F238E27FC236}">
                <a16:creationId xmlns:a16="http://schemas.microsoft.com/office/drawing/2014/main" id="{6B1E3CAF-2CC4-2DA2-67A3-7147FBF5EDB4}"/>
              </a:ext>
            </a:extLst>
          </p:cNvPr>
          <p:cNvSpPr txBox="1"/>
          <p:nvPr userDrawn="1"/>
        </p:nvSpPr>
        <p:spPr>
          <a:xfrm>
            <a:off x="7672866" y="5458735"/>
            <a:ext cx="179962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eaLnBrk="1" hangingPunct="1">
              <a:tabLst>
                <a:tab pos="8077200" algn="r"/>
              </a:tabLst>
              <a:defRPr sz="800" b="1">
                <a:latin typeface="+mj-lt"/>
                <a:cs typeface="Times New Roman" panose="02020603050405020304" pitchFamily="18" charset="0"/>
              </a:defRPr>
            </a:lvl1pPr>
            <a:lvl2pPr marL="742950" indent="-285750" eaLnBrk="0" hangingPunct="0">
              <a:tabLst>
                <a:tab pos="8077200" algn="r"/>
              </a:tabLst>
            </a:lvl2pPr>
            <a:lvl3pPr marL="1143000" indent="-228600" eaLnBrk="0" hangingPunct="0">
              <a:tabLst>
                <a:tab pos="8077200" algn="r"/>
              </a:tabLst>
            </a:lvl3pPr>
            <a:lvl4pPr marL="1600200" indent="-228600" eaLnBrk="0" hangingPunct="0">
              <a:tabLst>
                <a:tab pos="8077200" algn="r"/>
              </a:tabLst>
            </a:lvl4pPr>
            <a:lvl5pPr marL="2057400" indent="-228600" eaLnBrk="0" hangingPunct="0">
              <a:tabLst>
                <a:tab pos="8077200" algn="r"/>
              </a:tabLst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</a:lvl9pPr>
          </a:lstStyle>
          <a:p>
            <a:pPr lvl="0" algn="r"/>
            <a:fld id="{FFD8CB62-5868-44D9-AEDB-6164C829A963}" type="datetime4">
              <a:rPr lang="en-GB" altLang="de-DE" sz="800" b="0" smtClean="0"/>
              <a:pPr lvl="0" algn="r"/>
              <a:t>30 September 2024</a:t>
            </a:fld>
            <a:r>
              <a:rPr lang="en-GB" altLang="de-DE" sz="800" b="0" dirty="0"/>
              <a:t>  |  </a:t>
            </a:r>
            <a:fld id="{2B3CAFD9-4309-4113-97D1-8D075C278ED5}" type="slidenum">
              <a:rPr lang="en-GB" altLang="de-DE" sz="800" b="0" smtClean="0"/>
              <a:pPr lvl="0" algn="r"/>
              <a:t>‹#›</a:t>
            </a:fld>
            <a:endParaRPr lang="de-DE" sz="800" b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6ABA308-BBA0-8AF9-A948-334F3012E4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0000" y="95984"/>
            <a:ext cx="8960000" cy="385252"/>
          </a:xfrm>
        </p:spPr>
        <p:txBody>
          <a:bodyPr/>
          <a:lstStyle>
            <a:lvl1pPr algn="l">
              <a:defRPr sz="2400" b="0">
                <a:solidFill>
                  <a:schemeClr val="accent3">
                    <a:lumMod val="75000"/>
                  </a:schemeClr>
                </a:solidFill>
                <a:latin typeface="Verdana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13">
            <a:extLst>
              <a:ext uri="{FF2B5EF4-FFF2-40B4-BE49-F238E27FC236}">
                <a16:creationId xmlns:a16="http://schemas.microsoft.com/office/drawing/2014/main" id="{456378CF-5979-4D79-ACC8-80F9BBACE11B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17500" y="481237"/>
            <a:ext cx="8960000" cy="385252"/>
          </a:xfrm>
        </p:spPr>
        <p:txBody>
          <a:bodyPr anchor="b"/>
          <a:lstStyle>
            <a:lvl1pPr>
              <a:defRPr lang="de-DE" altLang="de-DE" sz="2000" b="0" kern="1200" dirty="0" smtClean="0">
                <a:solidFill>
                  <a:srgbClr val="00B1AC"/>
                </a:solidFill>
                <a:latin typeface="Verdana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3D5441D3-56AC-5C72-1CD7-3D335A3A22E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7500" y="5458735"/>
            <a:ext cx="55446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 eaLnBrk="1" hangingPunct="1"/>
            <a:r>
              <a:rPr lang="en-GB" altLang="de-DE" sz="800" b="1" dirty="0">
                <a:latin typeface="+mj-lt"/>
                <a:cs typeface="Times New Roman" panose="02020603050405020304" pitchFamily="18" charset="0"/>
              </a:rPr>
              <a:t>© FH AACHEN </a:t>
            </a:r>
            <a:r>
              <a:rPr lang="en-GB" altLang="de-DE" sz="800" b="0" dirty="0">
                <a:latin typeface="+mj-lt"/>
                <a:cs typeface="Times New Roman" panose="02020603050405020304" pitchFamily="18" charset="0"/>
              </a:rPr>
              <a:t>| Shreyas Ashwin Sunder | Aerospace Engineering | Colloquium</a:t>
            </a:r>
            <a:endParaRPr lang="en-GB" altLang="de-DE" sz="800" dirty="0">
              <a:latin typeface="+mj-lt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97489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64519501-7E05-E272-EFD3-140F58444A5F}"/>
              </a:ext>
            </a:extLst>
          </p:cNvPr>
          <p:cNvSpPr/>
          <p:nvPr userDrawn="1"/>
        </p:nvSpPr>
        <p:spPr>
          <a:xfrm>
            <a:off x="-1" y="-10217"/>
            <a:ext cx="10171201" cy="57252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" name="Grafik 9" descr="FHAAC_RGB_oBL-r.jpg">
            <a:extLst>
              <a:ext uri="{FF2B5EF4-FFF2-40B4-BE49-F238E27FC236}">
                <a16:creationId xmlns:a16="http://schemas.microsoft.com/office/drawing/2014/main" id="{C43EE1AD-B1E1-C4EF-3A82-B21604BD1E86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0480" y="3289548"/>
            <a:ext cx="648072" cy="200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Gerade Verbindung 7">
            <a:extLst>
              <a:ext uri="{FF2B5EF4-FFF2-40B4-BE49-F238E27FC236}">
                <a16:creationId xmlns:a16="http://schemas.microsoft.com/office/drawing/2014/main" id="{D1742883-B15B-30AE-4001-53F5803D0D85}"/>
              </a:ext>
            </a:extLst>
          </p:cNvPr>
          <p:cNvCxnSpPr>
            <a:cxnSpLocks/>
          </p:cNvCxnSpPr>
          <p:nvPr userDrawn="1"/>
        </p:nvCxnSpPr>
        <p:spPr>
          <a:xfrm>
            <a:off x="319267" y="5430839"/>
            <a:ext cx="915322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85EC57D8-B7BC-A26B-4B2E-18F557BFEDFD}"/>
              </a:ext>
            </a:extLst>
          </p:cNvPr>
          <p:cNvSpPr txBox="1"/>
          <p:nvPr userDrawn="1"/>
        </p:nvSpPr>
        <p:spPr>
          <a:xfrm>
            <a:off x="7672866" y="5458735"/>
            <a:ext cx="179962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eaLnBrk="1" hangingPunct="1">
              <a:tabLst>
                <a:tab pos="8077200" algn="r"/>
              </a:tabLst>
              <a:defRPr sz="800" b="1">
                <a:latin typeface="+mj-lt"/>
                <a:cs typeface="Times New Roman" panose="02020603050405020304" pitchFamily="18" charset="0"/>
              </a:defRPr>
            </a:lvl1pPr>
            <a:lvl2pPr marL="742950" indent="-285750" eaLnBrk="0" hangingPunct="0">
              <a:tabLst>
                <a:tab pos="8077200" algn="r"/>
              </a:tabLst>
            </a:lvl2pPr>
            <a:lvl3pPr marL="1143000" indent="-228600" eaLnBrk="0" hangingPunct="0">
              <a:tabLst>
                <a:tab pos="8077200" algn="r"/>
              </a:tabLst>
            </a:lvl3pPr>
            <a:lvl4pPr marL="1600200" indent="-228600" eaLnBrk="0" hangingPunct="0">
              <a:tabLst>
                <a:tab pos="8077200" algn="r"/>
              </a:tabLst>
            </a:lvl4pPr>
            <a:lvl5pPr marL="2057400" indent="-228600" eaLnBrk="0" hangingPunct="0">
              <a:tabLst>
                <a:tab pos="8077200" algn="r"/>
              </a:tabLst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</a:lvl9pPr>
          </a:lstStyle>
          <a:p>
            <a:pPr lvl="0" algn="r"/>
            <a:fld id="{FFD8CB62-5868-44D9-AEDB-6164C829A963}" type="datetime4">
              <a:rPr lang="en-GB" altLang="de-DE" sz="800" b="0" smtClean="0"/>
              <a:pPr lvl="0" algn="r"/>
              <a:t>30 September 2024</a:t>
            </a:fld>
            <a:r>
              <a:rPr lang="en-GB" altLang="de-DE" sz="800" b="0" dirty="0"/>
              <a:t>  |  </a:t>
            </a:r>
            <a:fld id="{2B3CAFD9-4309-4113-97D1-8D075C278ED5}" type="slidenum">
              <a:rPr lang="en-GB" altLang="de-DE" sz="800" b="0" smtClean="0"/>
              <a:pPr lvl="0" algn="r"/>
              <a:t>‹#›</a:t>
            </a:fld>
            <a:endParaRPr lang="de-DE" sz="800" b="0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8A1A0E12-5D0A-D837-B038-9232C241999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7500" y="5458735"/>
            <a:ext cx="554461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 eaLnBrk="1" hangingPunct="1"/>
            <a:r>
              <a:rPr lang="en-GB" altLang="de-DE" sz="800" b="1" dirty="0">
                <a:latin typeface="+mj-lt"/>
                <a:cs typeface="Times New Roman" panose="02020603050405020304" pitchFamily="18" charset="0"/>
              </a:rPr>
              <a:t>© FH AACHEN </a:t>
            </a:r>
            <a:r>
              <a:rPr lang="en-GB" altLang="de-DE" sz="800" b="0" dirty="0">
                <a:latin typeface="+mj-lt"/>
                <a:cs typeface="Times New Roman" panose="02020603050405020304" pitchFamily="18" charset="0"/>
              </a:rPr>
              <a:t>| Shreyas Ashwin Sunder | Aerospace Engineering | Colloquium</a:t>
            </a:r>
            <a:endParaRPr lang="en-GB" altLang="de-DE" sz="800" dirty="0">
              <a:latin typeface="+mj-lt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316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88623066"/>
              </p:ext>
            </p:extLst>
          </p:nvPr>
        </p:nvGraphicFramePr>
        <p:xfrm>
          <a:off x="1767" y="1588"/>
          <a:ext cx="176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347" imgH="348" progId="TCLayout.ActiveDocument.1">
                  <p:embed/>
                </p:oleObj>
              </mc:Choice>
              <mc:Fallback>
                <p:oleObj name="think-cell Folie" r:id="rId9" imgW="347" imgH="34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67" y="1588"/>
                        <a:ext cx="176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76389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2400" b="0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050" name="Titelplatzhalter 1"/>
          <p:cNvSpPr>
            <a:spLocks noGrp="1"/>
          </p:cNvSpPr>
          <p:nvPr>
            <p:ph type="title"/>
          </p:nvPr>
        </p:nvSpPr>
        <p:spPr bwMode="auto">
          <a:xfrm>
            <a:off x="508000" y="228600"/>
            <a:ext cx="9144000" cy="468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itelmasterformat durch Klicken bearbeiten</a:t>
            </a:r>
          </a:p>
        </p:txBody>
      </p:sp>
      <p:sp>
        <p:nvSpPr>
          <p:cNvPr id="2051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508000" y="913284"/>
            <a:ext cx="9144000" cy="41921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extmasterformate durch Klicken bearbeiten</a:t>
            </a:r>
          </a:p>
          <a:p>
            <a:pPr lvl="1"/>
            <a:r>
              <a:rPr lang="de-DE" altLang="de-DE" dirty="0"/>
              <a:t>Zweite Ebene</a:t>
            </a:r>
          </a:p>
          <a:p>
            <a:pPr lvl="2"/>
            <a:r>
              <a:rPr lang="de-DE" altLang="de-DE" dirty="0"/>
              <a:t>Dritte Ebene</a:t>
            </a:r>
          </a:p>
          <a:p>
            <a:pPr lvl="3"/>
            <a:r>
              <a:rPr lang="de-DE" altLang="de-DE" dirty="0"/>
              <a:t>Vierte Ebene</a:t>
            </a:r>
          </a:p>
          <a:p>
            <a:pPr lvl="4"/>
            <a:r>
              <a:rPr lang="de-DE" alt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08001" y="5297488"/>
            <a:ext cx="2370667" cy="3048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pPr>
              <a:defRPr/>
            </a:pPr>
            <a:r>
              <a:rPr lang="de-DE" altLang="de-DE" sz="800" dirty="0">
                <a:latin typeface="Verdana" panose="020B0604030504040204" pitchFamily="34" charset="0"/>
              </a:rPr>
              <a:t>19. April 2018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471335" y="5297488"/>
            <a:ext cx="3217333" cy="3048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281333" y="5297488"/>
            <a:ext cx="2370667" cy="30480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latin typeface="Verdana" panose="020B0604030504040204" pitchFamily="34" charset="0"/>
              </a:defRPr>
            </a:lvl1pPr>
          </a:lstStyle>
          <a:p>
            <a:fld id="{A38C5779-B519-4BE8-822A-0AA5189C9EB5}" type="slidenum">
              <a:rPr lang="de-DE" altLang="de-DE"/>
              <a:pPr/>
              <a:t>‹#›</a:t>
            </a:fld>
            <a:endParaRPr lang="de-DE" altLang="de-DE"/>
          </a:p>
        </p:txBody>
      </p:sp>
      <p:pic>
        <p:nvPicPr>
          <p:cNvPr id="8" name="Grafik 9" descr="FHAAC_RGB_oBL-r.jpg">
            <a:extLst>
              <a:ext uri="{FF2B5EF4-FFF2-40B4-BE49-F238E27FC236}">
                <a16:creationId xmlns:a16="http://schemas.microsoft.com/office/drawing/2014/main" id="{8C7E62BD-1002-A073-CE1F-77B97E261A14}"/>
              </a:ext>
            </a:extLst>
          </p:cNvPr>
          <p:cNvPicPr>
            <a:picLocks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72634" y="48770"/>
            <a:ext cx="451556" cy="1296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39" r:id="rId2"/>
    <p:sldLayoutId id="2147483842" r:id="rId3"/>
    <p:sldLayoutId id="2147483840" r:id="rId4"/>
    <p:sldLayoutId id="2147483844" r:id="rId5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lang="de-DE" altLang="de-DE" sz="2400" b="0" kern="1200">
          <a:solidFill>
            <a:srgbClr val="00B1AC"/>
          </a:solidFill>
          <a:latin typeface="Verdana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Verdana" pitchFamily="34" charset="0"/>
        </a:defRPr>
      </a:lvl5pPr>
      <a:lvl6pPr marL="457189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377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566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754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891" indent="-342891" algn="l" rtl="0" eaLnBrk="0" fontAlgn="base" hangingPunct="0">
        <a:spcBef>
          <a:spcPct val="20000"/>
        </a:spcBef>
        <a:spcAft>
          <a:spcPct val="0"/>
        </a:spcAft>
        <a:defRPr sz="2400" kern="1200">
          <a:solidFill>
            <a:schemeClr val="tx1"/>
          </a:solidFill>
          <a:latin typeface="Verdana" pitchFamily="34" charset="0"/>
          <a:ea typeface="+mn-ea"/>
          <a:cs typeface="+mn-cs"/>
        </a:defRPr>
      </a:lvl1pPr>
      <a:lvl2pPr marL="742932" indent="-285744" algn="l" rtl="0" eaLnBrk="0" fontAlgn="base" hangingPunct="0">
        <a:spcBef>
          <a:spcPts val="2400"/>
        </a:spcBef>
        <a:spcAft>
          <a:spcPct val="0"/>
        </a:spcAft>
        <a:defRPr sz="2400" kern="1200">
          <a:solidFill>
            <a:schemeClr val="tx1"/>
          </a:solidFill>
          <a:latin typeface="Verdana" pitchFamily="34" charset="0"/>
          <a:ea typeface="+mn-ea"/>
          <a:cs typeface="+mn-cs"/>
        </a:defRPr>
      </a:lvl2pPr>
      <a:lvl3pPr marL="723882" indent="-355591" algn="l" rtl="0" eaLnBrk="0" fontAlgn="base" hangingPunct="0">
        <a:spcBef>
          <a:spcPct val="20000"/>
        </a:spcBef>
        <a:spcAft>
          <a:spcPct val="0"/>
        </a:spcAft>
        <a:buFont typeface="Verdana" panose="020B0604030504040204" pitchFamily="34" charset="0"/>
        <a:buChar char="&gt;"/>
        <a:defRPr sz="2400" kern="1200">
          <a:solidFill>
            <a:schemeClr val="tx1"/>
          </a:solidFill>
          <a:latin typeface="Verdana" pitchFamily="34" charset="0"/>
          <a:ea typeface="+mn-ea"/>
          <a:cs typeface="+mn-cs"/>
        </a:defRPr>
      </a:lvl3pPr>
      <a:lvl4pPr marL="1600160" indent="-228594" algn="l" rtl="0" eaLnBrk="0" fontAlgn="base" hangingPunct="0">
        <a:spcBef>
          <a:spcPts val="1600"/>
        </a:spcBef>
        <a:spcAft>
          <a:spcPct val="0"/>
        </a:spcAft>
        <a:buFont typeface="Arial" panose="020B0604020202020204" pitchFamily="34" charset="0"/>
        <a:defRPr sz="1600" kern="1200">
          <a:solidFill>
            <a:schemeClr val="tx1"/>
          </a:solidFill>
          <a:latin typeface="Verdana" pitchFamily="34" charset="0"/>
          <a:ea typeface="+mn-ea"/>
          <a:cs typeface="+mn-cs"/>
        </a:defRPr>
      </a:lvl4pPr>
      <a:lvl5pPr marL="723882" indent="-368291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&gt;"/>
        <a:defRPr sz="16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microsoft.com/office/2007/relationships/media" Target="../media/media8.mp4"/><Relationship Id="rId7" Type="http://schemas.openxmlformats.org/officeDocument/2006/relationships/image" Target="../media/image23.png"/><Relationship Id="rId2" Type="http://schemas.microsoft.com/office/2007/relationships/media" Target="../media/media7.mp4"/><Relationship Id="rId1" Type="http://schemas.openxmlformats.org/officeDocument/2006/relationships/video" Target="NULL" TargetMode="External"/><Relationship Id="rId6" Type="http://schemas.openxmlformats.org/officeDocument/2006/relationships/image" Target="../media/image22.png"/><Relationship Id="rId11" Type="http://schemas.openxmlformats.org/officeDocument/2006/relationships/image" Target="../media/image27.png"/><Relationship Id="rId5" Type="http://schemas.openxmlformats.org/officeDocument/2006/relationships/image" Target="../media/image21.png"/><Relationship Id="rId10" Type="http://schemas.openxmlformats.org/officeDocument/2006/relationships/image" Target="../media/image26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6.emf"/><Relationship Id="rId5" Type="http://schemas.openxmlformats.org/officeDocument/2006/relationships/image" Target="../media/image25.emf"/><Relationship Id="rId4" Type="http://schemas.openxmlformats.org/officeDocument/2006/relationships/image" Target="../media/image3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8.emf"/><Relationship Id="rId5" Type="http://schemas.openxmlformats.org/officeDocument/2006/relationships/image" Target="../media/image37.png"/><Relationship Id="rId4" Type="http://schemas.openxmlformats.org/officeDocument/2006/relationships/image" Target="../media/image27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0.emf"/><Relationship Id="rId5" Type="http://schemas.openxmlformats.org/officeDocument/2006/relationships/image" Target="../media/image29.emf"/><Relationship Id="rId4" Type="http://schemas.openxmlformats.org/officeDocument/2006/relationships/image" Target="../media/image41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1.png"/><Relationship Id="rId13" Type="http://schemas.openxmlformats.org/officeDocument/2006/relationships/image" Target="../media/image38.png"/><Relationship Id="rId3" Type="http://schemas.microsoft.com/office/2007/relationships/media" Target="../media/media10.mp4"/><Relationship Id="rId7" Type="http://schemas.openxmlformats.org/officeDocument/2006/relationships/image" Target="../media/image340.png"/><Relationship Id="rId12" Type="http://schemas.openxmlformats.org/officeDocument/2006/relationships/image" Target="../media/image46.png"/><Relationship Id="rId2" Type="http://schemas.microsoft.com/office/2007/relationships/media" Target="../media/media9.mp4"/><Relationship Id="rId16" Type="http://schemas.openxmlformats.org/officeDocument/2006/relationships/image" Target="../media/image43.png"/><Relationship Id="rId1" Type="http://schemas.openxmlformats.org/officeDocument/2006/relationships/video" Target="NULL" TargetMode="External"/><Relationship Id="rId6" Type="http://schemas.openxmlformats.org/officeDocument/2006/relationships/slideLayout" Target="../slideLayouts/slideLayout3.xml"/><Relationship Id="rId11" Type="http://schemas.openxmlformats.org/officeDocument/2006/relationships/image" Target="../media/image32.png"/><Relationship Id="rId5" Type="http://schemas.microsoft.com/office/2007/relationships/media" Target="../media/media12.mp4"/><Relationship Id="rId15" Type="http://schemas.openxmlformats.org/officeDocument/2006/relationships/image" Target="../media/image42.png"/><Relationship Id="rId10" Type="http://schemas.openxmlformats.org/officeDocument/2006/relationships/image" Target="../media/image31.png"/><Relationship Id="rId4" Type="http://schemas.microsoft.com/office/2007/relationships/media" Target="../media/media11.mp4"/><Relationship Id="rId9" Type="http://schemas.openxmlformats.org/officeDocument/2006/relationships/image" Target="../media/image360.png"/><Relationship Id="rId14" Type="http://schemas.openxmlformats.org/officeDocument/2006/relationships/image" Target="../media/image3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5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7.emf"/><Relationship Id="rId5" Type="http://schemas.openxmlformats.org/officeDocument/2006/relationships/image" Target="../media/image46.emf"/><Relationship Id="rId4" Type="http://schemas.openxmlformats.org/officeDocument/2006/relationships/image" Target="../media/image56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13" Type="http://schemas.openxmlformats.org/officeDocument/2006/relationships/image" Target="../media/image49.png"/><Relationship Id="rId18" Type="http://schemas.openxmlformats.org/officeDocument/2006/relationships/image" Target="../media/image57.png"/><Relationship Id="rId3" Type="http://schemas.microsoft.com/office/2007/relationships/media" Target="../media/media14.mp4"/><Relationship Id="rId21" Type="http://schemas.openxmlformats.org/officeDocument/2006/relationships/image" Target="../media/image690.png"/><Relationship Id="rId7" Type="http://schemas.microsoft.com/office/2007/relationships/media" Target="../media/media18.mp4"/><Relationship Id="rId12" Type="http://schemas.openxmlformats.org/officeDocument/2006/relationships/image" Target="../media/image510.png"/><Relationship Id="rId17" Type="http://schemas.openxmlformats.org/officeDocument/2006/relationships/image" Target="../media/image54.png"/><Relationship Id="rId2" Type="http://schemas.microsoft.com/office/2007/relationships/media" Target="../media/media13.mp4"/><Relationship Id="rId16" Type="http://schemas.openxmlformats.org/officeDocument/2006/relationships/image" Target="../media/image53.png"/><Relationship Id="rId20" Type="http://schemas.openxmlformats.org/officeDocument/2006/relationships/image" Target="../media/image680.png"/><Relationship Id="rId1" Type="http://schemas.openxmlformats.org/officeDocument/2006/relationships/video" Target="NULL" TargetMode="External"/><Relationship Id="rId6" Type="http://schemas.microsoft.com/office/2007/relationships/media" Target="../media/media17.mp4"/><Relationship Id="rId11" Type="http://schemas.openxmlformats.org/officeDocument/2006/relationships/image" Target="../media/image470.png"/><Relationship Id="rId24" Type="http://schemas.openxmlformats.org/officeDocument/2006/relationships/image" Target="../media/image720.png"/><Relationship Id="rId5" Type="http://schemas.microsoft.com/office/2007/relationships/media" Target="../media/media16.mp4"/><Relationship Id="rId15" Type="http://schemas.openxmlformats.org/officeDocument/2006/relationships/image" Target="../media/image52.png"/><Relationship Id="rId23" Type="http://schemas.openxmlformats.org/officeDocument/2006/relationships/image" Target="../media/image710.png"/><Relationship Id="rId10" Type="http://schemas.openxmlformats.org/officeDocument/2006/relationships/image" Target="../media/image530.png"/><Relationship Id="rId19" Type="http://schemas.openxmlformats.org/officeDocument/2006/relationships/image" Target="../media/image670.png"/><Relationship Id="rId4" Type="http://schemas.microsoft.com/office/2007/relationships/media" Target="../media/media15.mp4"/><Relationship Id="rId9" Type="http://schemas.openxmlformats.org/officeDocument/2006/relationships/image" Target="../media/image520.png"/><Relationship Id="rId14" Type="http://schemas.openxmlformats.org/officeDocument/2006/relationships/image" Target="../media/image50.png"/><Relationship Id="rId22" Type="http://schemas.openxmlformats.org/officeDocument/2006/relationships/image" Target="../media/image70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9.emf"/><Relationship Id="rId5" Type="http://schemas.openxmlformats.org/officeDocument/2006/relationships/image" Target="../media/image58.emf"/><Relationship Id="rId4" Type="http://schemas.openxmlformats.org/officeDocument/2006/relationships/image" Target="../media/image6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7" Type="http://schemas.openxmlformats.org/officeDocument/2006/relationships/image" Target="../media/image72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0.png"/><Relationship Id="rId2" Type="http://schemas.openxmlformats.org/officeDocument/2006/relationships/image" Target="../media/image750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3.emf"/><Relationship Id="rId4" Type="http://schemas.openxmlformats.org/officeDocument/2006/relationships/image" Target="../media/image62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6.emf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emf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84.emf"/><Relationship Id="rId4" Type="http://schemas.openxmlformats.org/officeDocument/2006/relationships/image" Target="../media/image83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88.emf"/><Relationship Id="rId4" Type="http://schemas.openxmlformats.org/officeDocument/2006/relationships/image" Target="../media/image87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92.emf"/><Relationship Id="rId4" Type="http://schemas.openxmlformats.org/officeDocument/2006/relationships/image" Target="../media/image9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gi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7" Type="http://schemas.openxmlformats.org/officeDocument/2006/relationships/image" Target="../media/image98.png"/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7.png"/><Relationship Id="rId5" Type="http://schemas.openxmlformats.org/officeDocument/2006/relationships/image" Target="../media/image96.emf"/><Relationship Id="rId4" Type="http://schemas.openxmlformats.org/officeDocument/2006/relationships/image" Target="../media/image95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361.png"/><Relationship Id="rId1" Type="http://schemas.openxmlformats.org/officeDocument/2006/relationships/slideLayout" Target="../slideLayouts/slideLayout3.xml"/><Relationship Id="rId6" Type="http://schemas.microsoft.com/office/2007/relationships/hdphoto" Target="../media/hdphoto2.wdp"/><Relationship Id="rId5" Type="http://schemas.openxmlformats.org/officeDocument/2006/relationships/image" Target="../media/image99.png"/><Relationship Id="rId4" Type="http://schemas.openxmlformats.org/officeDocument/2006/relationships/image" Target="../media/image370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0.png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30.png"/><Relationship Id="rId5" Type="http://schemas.openxmlformats.org/officeDocument/2006/relationships/image" Target="../media/image102.emf"/><Relationship Id="rId4" Type="http://schemas.openxmlformats.org/officeDocument/2006/relationships/image" Target="../media/image101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1.png"/><Relationship Id="rId2" Type="http://schemas.openxmlformats.org/officeDocument/2006/relationships/image" Target="../media/image480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03.png"/><Relationship Id="rId4" Type="http://schemas.openxmlformats.org/officeDocument/2006/relationships/image" Target="../media/image500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8.png"/><Relationship Id="rId5" Type="http://schemas.openxmlformats.org/officeDocument/2006/relationships/image" Target="../media/image107.emf"/><Relationship Id="rId4" Type="http://schemas.openxmlformats.org/officeDocument/2006/relationships/image" Target="../media/image106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microsoft.com/office/2007/relationships/media" Target="../media/media2.mp4"/><Relationship Id="rId7" Type="http://schemas.openxmlformats.org/officeDocument/2006/relationships/image" Target="../media/image9.png"/><Relationship Id="rId2" Type="http://schemas.microsoft.com/office/2007/relationships/media" Target="../media/media1.mp4"/><Relationship Id="rId1" Type="http://schemas.openxmlformats.org/officeDocument/2006/relationships/video" Target="NULL" TargetMode="External"/><Relationship Id="rId6" Type="http://schemas.openxmlformats.org/officeDocument/2006/relationships/image" Target="../media/image6.pn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video" Target="../media/media6.mp4"/><Relationship Id="rId13" Type="http://schemas.openxmlformats.org/officeDocument/2006/relationships/image" Target="../media/image13.png"/><Relationship Id="rId3" Type="http://schemas.microsoft.com/office/2007/relationships/media" Target="../media/media4.mp4"/><Relationship Id="rId7" Type="http://schemas.microsoft.com/office/2007/relationships/media" Target="../media/media6.mp4"/><Relationship Id="rId12" Type="http://schemas.openxmlformats.org/officeDocument/2006/relationships/image" Target="../media/image12.png"/><Relationship Id="rId2" Type="http://schemas.openxmlformats.org/officeDocument/2006/relationships/video" Target="../media/media3.mp4"/><Relationship Id="rId16" Type="http://schemas.openxmlformats.org/officeDocument/2006/relationships/image" Target="../media/image15.png"/><Relationship Id="rId1" Type="http://schemas.microsoft.com/office/2007/relationships/media" Target="../media/media3.mp4"/><Relationship Id="rId6" Type="http://schemas.openxmlformats.org/officeDocument/2006/relationships/video" Target="../media/media5.mp4"/><Relationship Id="rId11" Type="http://schemas.openxmlformats.org/officeDocument/2006/relationships/image" Target="../media/image11.png"/><Relationship Id="rId5" Type="http://schemas.microsoft.com/office/2007/relationships/media" Target="../media/media5.mp4"/><Relationship Id="rId15" Type="http://schemas.openxmlformats.org/officeDocument/2006/relationships/image" Target="../media/image140.png"/><Relationship Id="rId10" Type="http://schemas.openxmlformats.org/officeDocument/2006/relationships/image" Target="../media/image91.png"/><Relationship Id="rId4" Type="http://schemas.openxmlformats.org/officeDocument/2006/relationships/video" Target="../media/media4.mp4"/><Relationship Id="rId9" Type="http://schemas.openxmlformats.org/officeDocument/2006/relationships/slideLayout" Target="../slideLayouts/slideLayout3.xml"/><Relationship Id="rId1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0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8.emf"/><Relationship Id="rId4" Type="http://schemas.openxmlformats.org/officeDocument/2006/relationships/image" Target="../media/image17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0.png"/><Relationship Id="rId5" Type="http://schemas.microsoft.com/office/2007/relationships/hdphoto" Target="../media/hdphoto1.wdp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3">
            <a:extLst>
              <a:ext uri="{FF2B5EF4-FFF2-40B4-BE49-F238E27FC236}">
                <a16:creationId xmlns:a16="http://schemas.microsoft.com/office/drawing/2014/main" id="{67590128-A1BD-EC16-87DE-75580277CEB7}"/>
              </a:ext>
            </a:extLst>
          </p:cNvPr>
          <p:cNvSpPr txBox="1">
            <a:spLocks/>
          </p:cNvSpPr>
          <p:nvPr/>
        </p:nvSpPr>
        <p:spPr bwMode="auto">
          <a:xfrm>
            <a:off x="471488" y="1057300"/>
            <a:ext cx="4752528" cy="15121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de-DE" altLang="de-DE" sz="2400" b="0" kern="1200">
                <a:solidFill>
                  <a:srgbClr val="00B1AC"/>
                </a:solidFill>
                <a:latin typeface="Verdana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AU" b="1" dirty="0"/>
              <a:t>Aerodynamic Investigation of Propeller-Wing Interaction for Simple Motions and Complex Modes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923ED36C-A0CF-5E14-9918-FABDF6B5CC53}"/>
              </a:ext>
            </a:extLst>
          </p:cNvPr>
          <p:cNvSpPr txBox="1">
            <a:spLocks/>
          </p:cNvSpPr>
          <p:nvPr/>
        </p:nvSpPr>
        <p:spPr>
          <a:xfrm>
            <a:off x="471488" y="3145532"/>
            <a:ext cx="3960440" cy="2448272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ts val="240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723900" indent="-355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Verdana" panose="020B0604030504040204" pitchFamily="34" charset="0"/>
              <a:buChar char="&gt;"/>
              <a:defRPr sz="2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ts val="1600"/>
              </a:spcBef>
              <a:spcAft>
                <a:spcPct val="0"/>
              </a:spcAft>
              <a:buFont typeface="Arial" panose="020B0604020202020204" pitchFamily="34" charset="0"/>
              <a:defRPr sz="1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723900" indent="-3683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&gt;"/>
              <a:defRPr sz="1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2000" dirty="0"/>
              <a:t>Colloquium</a:t>
            </a:r>
          </a:p>
          <a:p>
            <a:r>
              <a:rPr lang="en-AU" sz="1600" dirty="0"/>
              <a:t>Shreyas Ashwin Sunder</a:t>
            </a:r>
          </a:p>
          <a:p>
            <a:r>
              <a:rPr lang="en-AU" sz="1600" dirty="0"/>
              <a:t>FH Aachen</a:t>
            </a:r>
          </a:p>
          <a:p>
            <a:r>
              <a:rPr lang="en-AU" sz="1600" dirty="0"/>
              <a:t>30.09.2024</a:t>
            </a:r>
            <a:endParaRPr lang="en-AU" sz="800" dirty="0"/>
          </a:p>
          <a:p>
            <a:endParaRPr lang="en-AU" sz="900" dirty="0"/>
          </a:p>
          <a:p>
            <a:endParaRPr lang="en-AU" sz="1200" dirty="0"/>
          </a:p>
          <a:p>
            <a:r>
              <a:rPr lang="en-AU" sz="1200" dirty="0"/>
              <a:t>Supervisors:</a:t>
            </a:r>
          </a:p>
          <a:p>
            <a:r>
              <a:rPr lang="en-AU" sz="1200" dirty="0"/>
              <a:t>Prof. Carsten Braun</a:t>
            </a:r>
          </a:p>
          <a:p>
            <a:r>
              <a:rPr lang="en-AU" sz="1200" dirty="0"/>
              <a:t>Nils Böhnisch M.Sc.</a:t>
            </a:r>
          </a:p>
        </p:txBody>
      </p:sp>
      <p:pic>
        <p:nvPicPr>
          <p:cNvPr id="5" name="Picture 4" descr="A red and blue object&#10;&#10;Description automatically generated">
            <a:extLst>
              <a:ext uri="{FF2B5EF4-FFF2-40B4-BE49-F238E27FC236}">
                <a16:creationId xmlns:a16="http://schemas.microsoft.com/office/drawing/2014/main" id="{1A3C1C25-5827-676C-57E7-10AEB8C09B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76"/>
          <a:stretch/>
        </p:blipFill>
        <p:spPr>
          <a:xfrm>
            <a:off x="4791968" y="1417340"/>
            <a:ext cx="4588311" cy="2706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9249067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38ED40-9917-A294-BEA6-82CFEB6E35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erodynamic Investigation: Simple Motions</a:t>
            </a:r>
            <a:endParaRPr lang="en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6" name="Content Placeholder 5">
                <a:extLst>
                  <a:ext uri="{FF2B5EF4-FFF2-40B4-BE49-F238E27FC236}">
                    <a16:creationId xmlns:a16="http://schemas.microsoft.com/office/drawing/2014/main" id="{1D062EA0-CDCF-48DC-6C73-3A9678449E30}"/>
                  </a:ext>
                </a:extLst>
              </p:cNvPr>
              <p:cNvGraphicFramePr>
                <a:graphicFrameLocks noGrp="1"/>
              </p:cNvGraphicFramePr>
              <p:nvPr>
                <p:ph idx="1"/>
                <p:extLst>
                  <p:ext uri="{D42A27DB-BD31-4B8C-83A1-F6EECF244321}">
                    <p14:modId xmlns:p14="http://schemas.microsoft.com/office/powerpoint/2010/main" val="1935913627"/>
                  </p:ext>
                </p:extLst>
              </p:nvPr>
            </p:nvGraphicFramePr>
            <p:xfrm>
              <a:off x="389507" y="1274305"/>
              <a:ext cx="4186438" cy="792684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718114">
                      <a:extLst>
                        <a:ext uri="{9D8B030D-6E8A-4147-A177-3AD203B41FA5}">
                          <a16:colId xmlns:a16="http://schemas.microsoft.com/office/drawing/2014/main" val="3292926077"/>
                        </a:ext>
                      </a:extLst>
                    </a:gridCol>
                    <a:gridCol w="1468324">
                      <a:extLst>
                        <a:ext uri="{9D8B030D-6E8A-4147-A177-3AD203B41FA5}">
                          <a16:colId xmlns:a16="http://schemas.microsoft.com/office/drawing/2014/main" val="4200956874"/>
                        </a:ext>
                      </a:extLst>
                    </a:gridCol>
                  </a:tblGrid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Parameter (Fixed)</a:t>
                          </a:r>
                          <a:endParaRPr lang="en-DE" sz="1200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Value</a:t>
                          </a:r>
                          <a:endParaRPr lang="en-DE" sz="1200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765532567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Wing initial angle of attack (</a:t>
                          </a: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US" sz="1200" b="0" i="1" smtClean="0">
                                      <a:effectLst/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GB" sz="1200" i="1" smtClean="0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  <m:t>𝛼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en-US" sz="1200" b="0" i="1" smtClean="0">
                                          <a:effectLst/>
                                          <a:latin typeface="Cambria Math" panose="02040503050406030204" pitchFamily="18" charset="0"/>
                                          <a:cs typeface="Arial" panose="020B0604020202020204" pitchFamily="34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1200" b="0" i="1" smtClean="0">
                                          <a:effectLst/>
                                          <a:latin typeface="Cambria Math" panose="02040503050406030204" pitchFamily="18" charset="0"/>
                                          <a:cs typeface="Arial" panose="020B0604020202020204" pitchFamily="34" charset="0"/>
                                        </a:rPr>
                                        <m:t>𝑊</m:t>
                                      </m:r>
                                    </m:e>
                                    <m:sub>
                                      <m:r>
                                        <a:rPr lang="en-US" sz="1200" b="0" i="1" smtClean="0">
                                          <a:effectLst/>
                                          <a:latin typeface="Cambria Math" panose="02040503050406030204" pitchFamily="18" charset="0"/>
                                          <a:cs typeface="Arial" panose="020B0604020202020204" pitchFamily="34" charset="0"/>
                                        </a:rPr>
                                        <m:t>0</m:t>
                                      </m:r>
                                    </m:sub>
                                  </m:sSub>
                                </m:sub>
                              </m:sSub>
                              <m:r>
                                <a:rPr lang="en-US" sz="1200" b="0" i="0" smtClean="0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, </m:t>
                              </m:r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𝑑𝑒𝑔</m:t>
                              </m:r>
                            </m:oMath>
                          </a14:m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4091580403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Wing phase offset (</a:t>
                          </a: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GB" sz="1200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  <m:t>φ</m:t>
                                  </m:r>
                                </m:e>
                                <m:sub>
                                  <m:r>
                                    <a:rPr lang="en-US" sz="1200" b="0" i="1" smtClean="0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  <m:t>𝑊</m:t>
                                  </m:r>
                                </m:sub>
                              </m:sSub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, </m:t>
                              </m:r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𝑑𝑒𝑔</m:t>
                              </m:r>
                            </m:oMath>
                          </a14:m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708555244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6" name="Content Placeholder 5">
                <a:extLst>
                  <a:ext uri="{FF2B5EF4-FFF2-40B4-BE49-F238E27FC236}">
                    <a16:creationId xmlns:a16="http://schemas.microsoft.com/office/drawing/2014/main" id="{1D062EA0-CDCF-48DC-6C73-3A9678449E30}"/>
                  </a:ext>
                </a:extLst>
              </p:cNvPr>
              <p:cNvGraphicFramePr>
                <a:graphicFrameLocks noGrp="1"/>
              </p:cNvGraphicFramePr>
              <p:nvPr>
                <p:ph idx="1"/>
                <p:extLst>
                  <p:ext uri="{D42A27DB-BD31-4B8C-83A1-F6EECF244321}">
                    <p14:modId xmlns:p14="http://schemas.microsoft.com/office/powerpoint/2010/main" val="1935913627"/>
                  </p:ext>
                </p:extLst>
              </p:nvPr>
            </p:nvGraphicFramePr>
            <p:xfrm>
              <a:off x="389507" y="1274305"/>
              <a:ext cx="4186438" cy="792684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718114">
                      <a:extLst>
                        <a:ext uri="{9D8B030D-6E8A-4147-A177-3AD203B41FA5}">
                          <a16:colId xmlns:a16="http://schemas.microsoft.com/office/drawing/2014/main" val="3292926077"/>
                        </a:ext>
                      </a:extLst>
                    </a:gridCol>
                    <a:gridCol w="1468324">
                      <a:extLst>
                        <a:ext uri="{9D8B030D-6E8A-4147-A177-3AD203B41FA5}">
                          <a16:colId xmlns:a16="http://schemas.microsoft.com/office/drawing/2014/main" val="4200956874"/>
                        </a:ext>
                      </a:extLst>
                    </a:gridCol>
                  </a:tblGrid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Parameter (Fixed)</a:t>
                          </a:r>
                          <a:endParaRPr lang="en-DE" sz="1200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Value</a:t>
                          </a:r>
                          <a:endParaRPr lang="en-DE" sz="1200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765532567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5"/>
                          <a:stretch>
                            <a:fillRect l="-224" t="-113953" r="-54810" b="-11162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4091580403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5"/>
                          <a:stretch>
                            <a:fillRect l="-224" t="-209091" r="-54810" b="-909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708555244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94EA77-4737-FD1E-A05D-4B2E2F5578A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Rigidly Attached Propeller</a:t>
            </a:r>
            <a:endParaRPr lang="en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8" name="Table 7">
                <a:extLst>
                  <a:ext uri="{FF2B5EF4-FFF2-40B4-BE49-F238E27FC236}">
                    <a16:creationId xmlns:a16="http://schemas.microsoft.com/office/drawing/2014/main" id="{CFEA7E32-5540-926A-E681-ADDA9BC3778E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668431975"/>
                  </p:ext>
                </p:extLst>
              </p:nvPr>
            </p:nvGraphicFramePr>
            <p:xfrm>
              <a:off x="385472" y="2209428"/>
              <a:ext cx="4186438" cy="1141283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719898">
                      <a:extLst>
                        <a:ext uri="{9D8B030D-6E8A-4147-A177-3AD203B41FA5}">
                          <a16:colId xmlns:a16="http://schemas.microsoft.com/office/drawing/2014/main" val="4238621393"/>
                        </a:ext>
                      </a:extLst>
                    </a:gridCol>
                    <a:gridCol w="1466540">
                      <a:extLst>
                        <a:ext uri="{9D8B030D-6E8A-4147-A177-3AD203B41FA5}">
                          <a16:colId xmlns:a16="http://schemas.microsoft.com/office/drawing/2014/main" val="2029339879"/>
                        </a:ext>
                      </a:extLst>
                    </a:gridCol>
                  </a:tblGrid>
                  <a:tr h="226075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b="1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Parameter (Varying)</a:t>
                          </a:r>
                          <a:endParaRPr lang="en-DE" sz="1200" b="1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b="1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Range</a:t>
                          </a:r>
                          <a:endParaRPr lang="en-DE" sz="1200" b="1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018589997"/>
                      </a:ext>
                    </a:extLst>
                  </a:tr>
                  <a:tr h="236983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Wing pitch amplitude (</a:t>
                          </a: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  <m:t>𝛼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en-DE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  <m:t>𝑊</m:t>
                                      </m:r>
                                    </m:e>
                                    <m:sub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  <m:t>𝑀𝑎𝑥</m:t>
                                      </m:r>
                                    </m:sub>
                                  </m:sSub>
                                </m:sub>
                              </m:sSub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, </m:t>
                              </m:r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𝑑𝑒𝑔</m:t>
                              </m:r>
                            </m:oMath>
                          </a14:m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Arial" panose="020B0604020202020204" pitchFamily="34" charset="0"/>
                            </a:rPr>
                            <a:t>1, 2, 4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866479078"/>
                      </a:ext>
                    </a:extLst>
                  </a:tr>
                  <a:tr h="226075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Normalised plunge amplitude (</a:t>
                          </a:r>
                          <a14:m>
                            <m:oMath xmlns:m="http://schemas.openxmlformats.org/officeDocument/2006/math"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h</m:t>
                              </m:r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, −</m:t>
                              </m:r>
                            </m:oMath>
                          </a14:m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Arial" panose="020B0604020202020204" pitchFamily="34" charset="0"/>
                            </a:rPr>
                            <a:t>0.025, 0.05, 0.1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209481457"/>
                      </a:ext>
                    </a:extLst>
                  </a:tr>
                  <a:tr h="226075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Reduced frequency (</a:t>
                          </a:r>
                          <a14:m>
                            <m:oMath xmlns:m="http://schemas.openxmlformats.org/officeDocument/2006/math"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𝑘</m:t>
                              </m:r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, −</m:t>
                              </m:r>
                            </m:oMath>
                          </a14:m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Arial" panose="020B0604020202020204" pitchFamily="34" charset="0"/>
                            </a:rPr>
                            <a:t>0.101, …., 1.005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369563425"/>
                      </a:ext>
                    </a:extLst>
                  </a:tr>
                  <a:tr h="226075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Advance ratio (</a:t>
                          </a:r>
                          <a14:m>
                            <m:oMath xmlns:m="http://schemas.openxmlformats.org/officeDocument/2006/math"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Times New Roman" panose="02020603050405020304" pitchFamily="18" charset="0"/>
                                </a:rPr>
                                <m:t>𝐽</m:t>
                              </m:r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, −</m:t>
                              </m:r>
                            </m:oMath>
                          </a14:m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5, …., 1.4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562212589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8" name="Table 7">
                <a:extLst>
                  <a:ext uri="{FF2B5EF4-FFF2-40B4-BE49-F238E27FC236}">
                    <a16:creationId xmlns:a16="http://schemas.microsoft.com/office/drawing/2014/main" id="{CFEA7E32-5540-926A-E681-ADDA9BC3778E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668431975"/>
                  </p:ext>
                </p:extLst>
              </p:nvPr>
            </p:nvGraphicFramePr>
            <p:xfrm>
              <a:off x="385472" y="2209428"/>
              <a:ext cx="4186438" cy="1141283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719898">
                      <a:extLst>
                        <a:ext uri="{9D8B030D-6E8A-4147-A177-3AD203B41FA5}">
                          <a16:colId xmlns:a16="http://schemas.microsoft.com/office/drawing/2014/main" val="4238621393"/>
                        </a:ext>
                      </a:extLst>
                    </a:gridCol>
                    <a:gridCol w="1466540">
                      <a:extLst>
                        <a:ext uri="{9D8B030D-6E8A-4147-A177-3AD203B41FA5}">
                          <a16:colId xmlns:a16="http://schemas.microsoft.com/office/drawing/2014/main" val="2029339879"/>
                        </a:ext>
                      </a:extLst>
                    </a:gridCol>
                  </a:tblGrid>
                  <a:tr h="226075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b="1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Parameter (Varying)</a:t>
                          </a:r>
                          <a:endParaRPr lang="en-DE" sz="1200" b="1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b="1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Range</a:t>
                          </a:r>
                          <a:endParaRPr lang="en-DE" sz="1200" b="1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018589997"/>
                      </a:ext>
                    </a:extLst>
                  </a:tr>
                  <a:tr h="236983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6"/>
                          <a:stretch>
                            <a:fillRect l="-224" t="-107692" r="-55157" b="-31538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Arial" panose="020B0604020202020204" pitchFamily="34" charset="0"/>
                            </a:rPr>
                            <a:t>1, 2, 4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866479078"/>
                      </a:ext>
                    </a:extLst>
                  </a:tr>
                  <a:tr h="226075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6"/>
                          <a:stretch>
                            <a:fillRect l="-224" t="-213158" r="-55157" b="-22368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Arial" panose="020B0604020202020204" pitchFamily="34" charset="0"/>
                            </a:rPr>
                            <a:t>0.025, 0.05, 0.1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209481457"/>
                      </a:ext>
                    </a:extLst>
                  </a:tr>
                  <a:tr h="226075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6"/>
                          <a:stretch>
                            <a:fillRect l="-224" t="-321622" r="-55157" b="-12973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Arial" panose="020B0604020202020204" pitchFamily="34" charset="0"/>
                            </a:rPr>
                            <a:t>0.101, …., 1.005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369563425"/>
                      </a:ext>
                    </a:extLst>
                  </a:tr>
                  <a:tr h="226075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6"/>
                          <a:stretch>
                            <a:fillRect l="-224" t="-421622" r="-55157" b="-2973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5, …., 1.4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562212589"/>
                      </a:ext>
                    </a:extLst>
                  </a:tr>
                </a:tbl>
              </a:graphicData>
            </a:graphic>
          </p:graphicFrame>
        </mc:Fallback>
      </mc:AlternateContent>
      <p:pic>
        <p:nvPicPr>
          <p:cNvPr id="10" name="rigid_pitch_2">
            <a:hlinkClick r:id="" action="ppaction://media"/>
            <a:extLst>
              <a:ext uri="{FF2B5EF4-FFF2-40B4-BE49-F238E27FC236}">
                <a16:creationId xmlns:a16="http://schemas.microsoft.com/office/drawing/2014/main" id="{233703AF-3AA5-F4E4-9A3D-8C3A6EC39147}"/>
              </a:ext>
            </a:extLst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2">
                  <p14:trim end="41"/>
                </p14:media>
              </p:ext>
            </p:extLst>
          </p:nvPr>
        </p:nvPicPr>
        <p:blipFill>
          <a:blip r:embed="rId7">
            <a:lum contrast="20000"/>
          </a:blip>
          <a:stretch>
            <a:fillRect/>
          </a:stretch>
        </p:blipFill>
        <p:spPr>
          <a:xfrm>
            <a:off x="5588091" y="1025372"/>
            <a:ext cx="3380341" cy="1901442"/>
          </a:xfrm>
          <a:prstGeom prst="rect">
            <a:avLst/>
          </a:prstGeom>
        </p:spPr>
      </p:pic>
      <p:pic>
        <p:nvPicPr>
          <p:cNvPr id="11" name="rigid_plunge_2">
            <a:hlinkClick r:id="" action="ppaction://media"/>
            <a:extLst>
              <a:ext uri="{FF2B5EF4-FFF2-40B4-BE49-F238E27FC236}">
                <a16:creationId xmlns:a16="http://schemas.microsoft.com/office/drawing/2014/main" id="{E9E5F957-5145-E903-17AA-D0AD45592F4D}"/>
              </a:ext>
            </a:extLst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3">
                  <p14:trim end="41"/>
                </p14:media>
              </p:ext>
            </p:extLst>
          </p:nvPr>
        </p:nvPicPr>
        <p:blipFill>
          <a:blip r:embed="rId8">
            <a:lum contrast="20000"/>
          </a:blip>
          <a:stretch>
            <a:fillRect/>
          </a:stretch>
        </p:blipFill>
        <p:spPr>
          <a:xfrm>
            <a:off x="5584056" y="3267489"/>
            <a:ext cx="3380341" cy="190144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36E7A5E-771A-93EB-B9D9-62C7B59A5556}"/>
              </a:ext>
            </a:extLst>
          </p:cNvPr>
          <p:cNvSpPr txBox="1"/>
          <p:nvPr/>
        </p:nvSpPr>
        <p:spPr>
          <a:xfrm>
            <a:off x="6050090" y="2914447"/>
            <a:ext cx="24482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algn="ctr">
              <a:buFont typeface="+mj-lt"/>
              <a:buAutoNum type="alphaLcParenR"/>
            </a:pPr>
            <a:r>
              <a:rPr lang="en-US" sz="800" b="1" dirty="0">
                <a:latin typeface="+mn-lt"/>
              </a:rPr>
              <a:t>Pitching motion</a:t>
            </a:r>
            <a:endParaRPr lang="en-DE" sz="800" b="1" dirty="0">
              <a:latin typeface="+mn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E1527DF-9BF3-460E-85C9-7CF8F885DFA8}"/>
              </a:ext>
            </a:extLst>
          </p:cNvPr>
          <p:cNvSpPr txBox="1"/>
          <p:nvPr/>
        </p:nvSpPr>
        <p:spPr>
          <a:xfrm>
            <a:off x="6050090" y="5126041"/>
            <a:ext cx="24482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algn="ctr">
              <a:buFont typeface="+mj-lt"/>
              <a:buAutoNum type="alphaLcParenR" startAt="2"/>
            </a:pPr>
            <a:r>
              <a:rPr lang="en-US" sz="800" b="1" dirty="0">
                <a:latin typeface="+mn-lt"/>
              </a:rPr>
              <a:t>Plunging motion</a:t>
            </a:r>
            <a:endParaRPr lang="en-DE" sz="800" b="1" dirty="0">
              <a:latin typeface="+mn-lt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26FCEC27-32FC-CCF3-2DCC-2BF6662188B8}"/>
                  </a:ext>
                </a:extLst>
              </p:cNvPr>
              <p:cNvSpPr txBox="1"/>
              <p:nvPr/>
            </p:nvSpPr>
            <p:spPr>
              <a:xfrm>
                <a:off x="655769" y="3521737"/>
                <a:ext cx="3539430" cy="47878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500" i="1" smtClean="0">
                          <a:latin typeface="Cambria Math" panose="02040503050406030204" pitchFamily="18" charset="0"/>
                        </a:rPr>
                        <m:t>h</m:t>
                      </m:r>
                      <m:r>
                        <a:rPr lang="en-US" sz="150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15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500" b="0" i="1" smtClean="0">
                              <a:latin typeface="Cambria Math" panose="02040503050406030204" pitchFamily="18" charset="0"/>
                            </a:rPr>
                            <m:t>𝑀𝑎𝑥𝑖𝑚𝑢𝑚</m:t>
                          </m:r>
                          <m:r>
                            <a:rPr lang="en-US" sz="1500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sz="1500" b="0" i="1" smtClean="0">
                              <a:latin typeface="Cambria Math" panose="02040503050406030204" pitchFamily="18" charset="0"/>
                            </a:rPr>
                            <m:t>𝑝𝑙𝑢𝑛𝑔𝑒</m:t>
                          </m:r>
                          <m:r>
                            <a:rPr lang="en-US" sz="1500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sz="1500" b="0" i="1" smtClean="0">
                              <a:latin typeface="Cambria Math" panose="02040503050406030204" pitchFamily="18" charset="0"/>
                            </a:rPr>
                            <m:t>𝑎𝑚𝑝𝑙𝑖𝑡𝑢𝑑𝑒</m:t>
                          </m:r>
                        </m:num>
                        <m:den>
                          <m:r>
                            <a:rPr lang="en-US" sz="1500" b="0" i="1" smtClean="0">
                              <a:latin typeface="Cambria Math" panose="02040503050406030204" pitchFamily="18" charset="0"/>
                            </a:rPr>
                            <m:t>𝑊𝑖𝑛𝑔</m:t>
                          </m:r>
                          <m:r>
                            <a:rPr lang="en-US" sz="1500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sz="1500" b="0" i="1" smtClean="0">
                              <a:latin typeface="Cambria Math" panose="02040503050406030204" pitchFamily="18" charset="0"/>
                            </a:rPr>
                            <m:t>𝑐h𝑜𝑟𝑑</m:t>
                          </m:r>
                        </m:den>
                      </m:f>
                      <m:r>
                        <a:rPr lang="en-US" sz="15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15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sz="150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5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e>
                            <m:sub>
                              <m:r>
                                <a:rPr lang="en-US" sz="1500" b="0" i="1" smtClean="0">
                                  <a:latin typeface="Cambria Math" panose="02040503050406030204" pitchFamily="18" charset="0"/>
                                </a:rPr>
                                <m:t>𝑀𝑎𝑥</m:t>
                              </m:r>
                            </m:sub>
                          </m:sSub>
                        </m:num>
                        <m:den>
                          <m:r>
                            <a:rPr lang="en-US" sz="1500" b="0" i="1" smtClean="0">
                              <a:latin typeface="Cambria Math" panose="02040503050406030204" pitchFamily="18" charset="0"/>
                            </a:rPr>
                            <m:t>𝑐</m:t>
                          </m:r>
                        </m:den>
                      </m:f>
                    </m:oMath>
                  </m:oMathPara>
                </a14:m>
                <a:endParaRPr lang="en-GB" sz="1500" dirty="0"/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26FCEC27-32FC-CCF3-2DCC-2BF6662188B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5769" y="3521737"/>
                <a:ext cx="3539430" cy="478785"/>
              </a:xfrm>
              <a:prstGeom prst="rect">
                <a:avLst/>
              </a:prstGeom>
              <a:blipFill>
                <a:blip r:embed="rId9"/>
                <a:stretch>
                  <a:fillRect l="-862" t="-3846" b="-17949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900E6F88-59D5-4D33-2580-A318129BF74E}"/>
                  </a:ext>
                </a:extLst>
              </p:cNvPr>
              <p:cNvSpPr txBox="1"/>
              <p:nvPr/>
            </p:nvSpPr>
            <p:spPr>
              <a:xfrm>
                <a:off x="1706426" y="4070370"/>
                <a:ext cx="1544530" cy="56893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500" b="0" i="1" smtClean="0">
                          <a:latin typeface="Cambria Math" panose="02040503050406030204" pitchFamily="18" charset="0"/>
                        </a:rPr>
                        <m:t>𝑘</m:t>
                      </m:r>
                      <m:r>
                        <a:rPr lang="en-US" sz="15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15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5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𝜋</m:t>
                          </m:r>
                          <m:r>
                            <a:rPr lang="en-US" sz="15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  <m:r>
                            <a:rPr lang="en-US" sz="15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𝑐</m:t>
                          </m:r>
                        </m:num>
                        <m:den>
                          <m:sSub>
                            <m:sSubPr>
                              <m:ctrlPr>
                                <a:rPr lang="en-US" sz="15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500" i="1">
                                  <a:latin typeface="Cambria Math" panose="02040503050406030204" pitchFamily="18" charset="0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sz="15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∞</m:t>
                              </m:r>
                            </m:sub>
                          </m:sSub>
                        </m:den>
                      </m:f>
                      <m:r>
                        <a:rPr lang="en-US" sz="15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15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5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𝜔</m:t>
                          </m:r>
                          <m:r>
                            <a:rPr lang="en-US" sz="15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𝑐</m:t>
                          </m:r>
                        </m:num>
                        <m:den>
                          <m:r>
                            <a:rPr lang="en-US" sz="15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  <m:sSub>
                            <m:sSubPr>
                              <m:ctrlPr>
                                <a:rPr lang="en-US" sz="15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500" i="1">
                                  <a:latin typeface="Cambria Math" panose="02040503050406030204" pitchFamily="18" charset="0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sz="15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∞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en-GB" sz="1500" dirty="0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900E6F88-59D5-4D33-2580-A318129BF74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06426" y="4070370"/>
                <a:ext cx="1544530" cy="568938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BD2C716B-D2B9-22A1-B7AD-1A155D84F0AA}"/>
                  </a:ext>
                </a:extLst>
              </p:cNvPr>
              <p:cNvSpPr txBox="1"/>
              <p:nvPr/>
            </p:nvSpPr>
            <p:spPr>
              <a:xfrm>
                <a:off x="1652654" y="4693650"/>
                <a:ext cx="1544530" cy="48769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500" b="0" i="1" smtClean="0">
                          <a:latin typeface="Cambria Math" panose="02040503050406030204" pitchFamily="18" charset="0"/>
                        </a:rPr>
                        <m:t>𝐽</m:t>
                      </m:r>
                      <m:r>
                        <a:rPr lang="en-US" sz="15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15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sz="15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500" i="1">
                                  <a:latin typeface="Cambria Math" panose="02040503050406030204" pitchFamily="18" charset="0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sz="15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∞</m:t>
                              </m:r>
                            </m:sub>
                          </m:sSub>
                        </m:num>
                        <m:den>
                          <m:r>
                            <a:rPr lang="en-US" sz="15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𝑛𝑑</m:t>
                          </m:r>
                        </m:den>
                      </m:f>
                    </m:oMath>
                  </m:oMathPara>
                </a14:m>
                <a:endParaRPr lang="en-GB" sz="1500" dirty="0"/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BD2C716B-D2B9-22A1-B7AD-1A155D84F0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52654" y="4693650"/>
                <a:ext cx="1544530" cy="487698"/>
              </a:xfrm>
              <a:prstGeom prst="rect">
                <a:avLst/>
              </a:prstGeom>
              <a:blipFill>
                <a:blip r:embed="rId11"/>
                <a:stretch>
                  <a:fillRect b="-375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8598311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8" dur="4976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9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20" dur="4976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25" repeatCount="indefinite" fill="remove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  <p:video>
              <p:cMediaNode vol="80000">
                <p:cTn id="26" repeatCount="indefinite" fill="remove" display="0">
                  <p:stCondLst>
                    <p:cond delay="indefinite"/>
                  </p:stCondLst>
                </p:cTn>
                <p:tgtEl>
                  <p:spTgt spid="11"/>
                </p:tgtEl>
              </p:cMediaNode>
            </p:video>
          </p:childTnLst>
        </p:cTn>
      </p:par>
    </p:tnLst>
    <p:bldLst>
      <p:bldP spid="5" grpId="0"/>
      <p:bldP spid="12" grpId="0"/>
      <p:bldP spid="3" grpId="0"/>
      <p:bldP spid="7" grpId="0"/>
      <p:bldP spid="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38ED40-9917-A294-BEA6-82CFEB6E35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erodynamic Investigation: Simple Motions</a:t>
            </a:r>
            <a:endParaRPr lang="en-D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94EA77-4737-FD1E-A05D-4B2E2F5578A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Rigidly Attached Propeller – Wing Motion Variation</a:t>
            </a:r>
            <a:endParaRPr lang="en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Content Placeholder 2">
                <a:extLst>
                  <a:ext uri="{FF2B5EF4-FFF2-40B4-BE49-F238E27FC236}">
                    <a16:creationId xmlns:a16="http://schemas.microsoft.com/office/drawing/2014/main" id="{2D8B4533-EFCF-B987-1E09-BE27CF4D839D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381660" y="4216585"/>
                <a:ext cx="8928992" cy="16198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>
                <a:lvl1pPr marL="0" indent="0" algn="l" rtl="0" eaLnBrk="0" fontAlgn="base" hangingPunct="0">
                  <a:spcBef>
                    <a:spcPts val="0"/>
                  </a:spcBef>
                  <a:spcAft>
                    <a:spcPts val="0"/>
                  </a:spcAft>
                  <a:buFontTx/>
                  <a:buNone/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1pPr>
                <a:lvl2pPr marL="0" indent="0" algn="l" rtl="0" eaLnBrk="0" fontAlgn="base" hangingPunct="0">
                  <a:spcBef>
                    <a:spcPts val="2000"/>
                  </a:spcBef>
                  <a:spcAft>
                    <a:spcPct val="0"/>
                  </a:spcAft>
                  <a:buNone/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2pPr>
                <a:lvl3pPr marL="723900" indent="-3683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Verdana" pitchFamily="34" charset="0"/>
                  <a:buChar char="&gt;"/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3pPr>
                <a:lvl4pPr marL="0" indent="0" algn="l" rtl="0" eaLnBrk="0" fontAlgn="base" hangingPunct="0">
                  <a:spcBef>
                    <a:spcPts val="1600"/>
                  </a:spcBef>
                  <a:spcAft>
                    <a:spcPct val="0"/>
                  </a:spcAft>
                  <a:buFontTx/>
                  <a:buNone/>
                  <a:defRPr sz="11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4pPr>
                <a:lvl5pPr marL="723900" indent="-3683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Verdana" pitchFamily="34" charset="0"/>
                  <a:buChar char="&gt;"/>
                  <a:defRPr sz="11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r>
                  <a:rPr lang="en-US" sz="1200" dirty="0"/>
                  <a:t>The </a:t>
                </a:r>
                <a:r>
                  <a:rPr lang="en-DE" sz="1200" dirty="0"/>
                  <a:t>behaviour</a:t>
                </a:r>
                <a:r>
                  <a:rPr lang="en-US" sz="1200" dirty="0"/>
                  <a:t> of the wing-propeller and standalone wing systems are </a:t>
                </a:r>
                <a:r>
                  <a:rPr lang="en-US" sz="1200" b="1" dirty="0"/>
                  <a:t>linear</a:t>
                </a:r>
                <a:r>
                  <a:rPr lang="en-US" sz="1200" dirty="0"/>
                  <a:t>. </a:t>
                </a:r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r>
                  <a:rPr lang="en-US" sz="1200" dirty="0"/>
                  <a:t>Positive change in magnitude between standalone wing and wing-propeller transfer functions for a positive propelle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2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200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en-US" sz="1200" b="0" i="1" smtClean="0">
                            <a:latin typeface="Cambria Math" panose="02040503050406030204" pitchFamily="18" charset="0"/>
                          </a:rPr>
                          <m:t>𝑇</m:t>
                        </m:r>
                      </m:sub>
                    </m:sSub>
                  </m:oMath>
                </a14:m>
                <a:r>
                  <a:rPr lang="en-US" sz="1200" dirty="0"/>
                  <a:t>, but overall trends are similar.</a:t>
                </a:r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r>
                  <a:rPr lang="en-US" sz="1200" dirty="0"/>
                  <a:t>Variations in the phase shifts were very small.</a:t>
                </a:r>
              </a:p>
              <a:p>
                <a:pPr>
                  <a:lnSpc>
                    <a:spcPct val="125000"/>
                  </a:lnSpc>
                </a:pPr>
                <a:endParaRPr lang="en-DE" sz="1500" dirty="0"/>
              </a:p>
            </p:txBody>
          </p:sp>
        </mc:Choice>
        <mc:Fallback xmlns="">
          <p:sp>
            <p:nvSpPr>
              <p:cNvPr id="16" name="Content Placeholder 2">
                <a:extLst>
                  <a:ext uri="{FF2B5EF4-FFF2-40B4-BE49-F238E27FC236}">
                    <a16:creationId xmlns:a16="http://schemas.microsoft.com/office/drawing/2014/main" id="{2D8B4533-EFCF-B987-1E09-BE27CF4D839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81660" y="4216585"/>
                <a:ext cx="8928992" cy="1619897"/>
              </a:xfrm>
              <a:prstGeom prst="rect">
                <a:avLst/>
              </a:prstGeom>
              <a:blipFill>
                <a:blip r:embed="rId2"/>
                <a:stretch>
                  <a:fillRect l="-956" t="-1887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3379DEE7-FB57-C60C-A33B-27D15882E962}"/>
                  </a:ext>
                </a:extLst>
              </p:cNvPr>
              <p:cNvSpPr txBox="1"/>
              <p:nvPr/>
            </p:nvSpPr>
            <p:spPr>
              <a:xfrm>
                <a:off x="590706" y="3765728"/>
                <a:ext cx="4171130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28600" indent="-228600" algn="ctr">
                  <a:buFont typeface="+mj-lt"/>
                  <a:buAutoNum type="alphaLcParenR"/>
                </a:pPr>
                <a:r>
                  <a:rPr lang="en-GB" sz="800" b="1" dirty="0">
                    <a:latin typeface="+mn-lt"/>
                  </a:rPr>
                  <a:t>Pitching Wing – Lift (left) and Moment (right) transfer functions:</a:t>
                </a:r>
              </a:p>
              <a:p>
                <a:pPr algn="ctr"/>
                <a:r>
                  <a:rPr lang="en-GB" sz="800" b="1" dirty="0">
                    <a:latin typeface="+mn-lt"/>
                  </a:rPr>
                  <a:t>Complex plane representation; </a:t>
                </a:r>
                <a14:m>
                  <m:oMath xmlns:m="http://schemas.openxmlformats.org/officeDocument/2006/math">
                    <m:r>
                      <a:rPr lang="en-GB" sz="800" b="1" i="1" dirty="0" smtClean="0">
                        <a:latin typeface="Cambria Math" panose="02040503050406030204" pitchFamily="18" charset="0"/>
                      </a:rPr>
                      <m:t>𝑱</m:t>
                    </m:r>
                    <m:r>
                      <a:rPr lang="en-US" sz="800" b="1" i="0" dirty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800" b="1" i="0" dirty="0" smtClean="0">
                        <a:latin typeface="Cambria Math" panose="02040503050406030204" pitchFamily="18" charset="0"/>
                      </a:rPr>
                      <m:t>𝟎</m:t>
                    </m:r>
                    <m:r>
                      <a:rPr lang="en-US" sz="800" b="1" i="0" dirty="0" smtClean="0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800" b="1" i="0" dirty="0" smtClean="0">
                        <a:latin typeface="Cambria Math" panose="02040503050406030204" pitchFamily="18" charset="0"/>
                      </a:rPr>
                      <m:t>𝟗</m:t>
                    </m:r>
                  </m:oMath>
                </a14:m>
                <a:r>
                  <a:rPr lang="en-GB" sz="800" b="1" dirty="0">
                    <a:latin typeface="+mn-lt"/>
                  </a:rPr>
                  <a:t>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sz="800" b="1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800" b="1" i="1" dirty="0" smtClean="0">
                            <a:latin typeface="Cambria Math" panose="02040503050406030204" pitchFamily="18" charset="0"/>
                          </a:rPr>
                          <m:t>𝑪</m:t>
                        </m:r>
                      </m:e>
                      <m:sub>
                        <m:r>
                          <a:rPr lang="en-US" sz="800" b="1" i="1" dirty="0" smtClean="0">
                            <a:latin typeface="Cambria Math" panose="02040503050406030204" pitchFamily="18" charset="0"/>
                          </a:rPr>
                          <m:t>𝑻</m:t>
                        </m:r>
                      </m:sub>
                    </m:sSub>
                    <m:r>
                      <a:rPr lang="en-US" sz="800" b="1" i="1" dirty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800" b="1" i="1" dirty="0" smtClean="0">
                        <a:latin typeface="Cambria Math" panose="02040503050406030204" pitchFamily="18" charset="0"/>
                      </a:rPr>
                      <m:t>𝟎</m:t>
                    </m:r>
                    <m:r>
                      <a:rPr lang="en-US" sz="800" b="1" i="1" dirty="0" smtClean="0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800" b="1" i="1" dirty="0" smtClean="0">
                        <a:latin typeface="Cambria Math" panose="02040503050406030204" pitchFamily="18" charset="0"/>
                      </a:rPr>
                      <m:t>𝟏𝟑𝟑</m:t>
                    </m:r>
                  </m:oMath>
                </a14:m>
                <a:endParaRPr lang="en-GB" sz="800" b="1" dirty="0">
                  <a:latin typeface="+mn-lt"/>
                </a:endParaRP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3379DEE7-FB57-C60C-A33B-27D15882E96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0706" y="3765728"/>
                <a:ext cx="4171130" cy="338554"/>
              </a:xfrm>
              <a:prstGeom prst="rect">
                <a:avLst/>
              </a:prstGeom>
              <a:blipFill>
                <a:blip r:embed="rId3"/>
                <a:stretch>
                  <a:fillRect b="-5455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2B6D0ABC-8DF9-F368-9A21-506E62BC29C1}"/>
                  </a:ext>
                </a:extLst>
              </p:cNvPr>
              <p:cNvSpPr txBox="1"/>
              <p:nvPr/>
            </p:nvSpPr>
            <p:spPr>
              <a:xfrm>
                <a:off x="5393573" y="3767176"/>
                <a:ext cx="4225543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28600" indent="-228600" algn="ctr">
                  <a:buFont typeface="+mj-lt"/>
                  <a:buAutoNum type="alphaLcParenR" startAt="2"/>
                </a:pPr>
                <a:r>
                  <a:rPr lang="en-GB" sz="800" b="1" dirty="0">
                    <a:latin typeface="+mn-lt"/>
                  </a:rPr>
                  <a:t>Plunging Wing – Lift (left) and Moment (right) transfer functions:</a:t>
                </a:r>
              </a:p>
              <a:p>
                <a:pPr algn="ctr"/>
                <a:r>
                  <a:rPr lang="en-GB" sz="800" b="1" dirty="0">
                    <a:latin typeface="+mn-lt"/>
                  </a:rPr>
                  <a:t>Complex plane representation; </a:t>
                </a:r>
                <a14:m>
                  <m:oMath xmlns:m="http://schemas.openxmlformats.org/officeDocument/2006/math">
                    <m:r>
                      <a:rPr lang="en-GB" sz="800" b="1" i="1" dirty="0" smtClean="0">
                        <a:latin typeface="Cambria Math" panose="02040503050406030204" pitchFamily="18" charset="0"/>
                      </a:rPr>
                      <m:t>𝑱</m:t>
                    </m:r>
                    <m:r>
                      <a:rPr lang="en-US" sz="800" b="1" i="0" dirty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800" b="1" i="0" dirty="0" smtClean="0">
                        <a:latin typeface="Cambria Math" panose="02040503050406030204" pitchFamily="18" charset="0"/>
                      </a:rPr>
                      <m:t>𝟎</m:t>
                    </m:r>
                    <m:r>
                      <a:rPr lang="en-US" sz="800" b="1" i="0" dirty="0" smtClean="0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800" b="1" i="0" dirty="0" smtClean="0">
                        <a:latin typeface="Cambria Math" panose="02040503050406030204" pitchFamily="18" charset="0"/>
                      </a:rPr>
                      <m:t>𝟗</m:t>
                    </m:r>
                  </m:oMath>
                </a14:m>
                <a:r>
                  <a:rPr lang="en-GB" sz="800" b="1" dirty="0">
                    <a:latin typeface="+mn-lt"/>
                  </a:rPr>
                  <a:t>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sz="800" b="1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800" b="1" i="1" dirty="0" smtClean="0">
                            <a:latin typeface="Cambria Math" panose="02040503050406030204" pitchFamily="18" charset="0"/>
                          </a:rPr>
                          <m:t>𝑪</m:t>
                        </m:r>
                      </m:e>
                      <m:sub>
                        <m:r>
                          <a:rPr lang="en-US" sz="800" b="1" i="1" dirty="0" smtClean="0">
                            <a:latin typeface="Cambria Math" panose="02040503050406030204" pitchFamily="18" charset="0"/>
                          </a:rPr>
                          <m:t>𝑻</m:t>
                        </m:r>
                      </m:sub>
                    </m:sSub>
                    <m:r>
                      <a:rPr lang="en-US" sz="800" b="1" i="1" dirty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800" b="1" i="1" dirty="0" smtClean="0">
                        <a:latin typeface="Cambria Math" panose="02040503050406030204" pitchFamily="18" charset="0"/>
                      </a:rPr>
                      <m:t>𝟎</m:t>
                    </m:r>
                    <m:r>
                      <a:rPr lang="en-US" sz="800" b="1" i="1" dirty="0" smtClean="0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800" b="1" i="1" dirty="0" smtClean="0">
                        <a:latin typeface="Cambria Math" panose="02040503050406030204" pitchFamily="18" charset="0"/>
                      </a:rPr>
                      <m:t>𝟏𝟑𝟑</m:t>
                    </m:r>
                  </m:oMath>
                </a14:m>
                <a:endParaRPr lang="en-GB" sz="800" b="1" dirty="0">
                  <a:latin typeface="+mn-lt"/>
                </a:endParaRPr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2B6D0ABC-8DF9-F368-9A21-506E62BC29C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93573" y="3767176"/>
                <a:ext cx="4225543" cy="338554"/>
              </a:xfrm>
              <a:prstGeom prst="rect">
                <a:avLst/>
              </a:prstGeom>
              <a:blipFill>
                <a:blip r:embed="rId4"/>
                <a:stretch>
                  <a:fillRect b="-3571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8" name="Picture 7">
            <a:extLst>
              <a:ext uri="{FF2B5EF4-FFF2-40B4-BE49-F238E27FC236}">
                <a16:creationId xmlns:a16="http://schemas.microsoft.com/office/drawing/2014/main" id="{BF8B6563-9187-6608-1AC5-9B66C04F5E83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" r="4670"/>
          <a:stretch/>
        </p:blipFill>
        <p:spPr>
          <a:xfrm>
            <a:off x="261825" y="1085577"/>
            <a:ext cx="4660977" cy="263034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208F9AC-BA22-4F67-AE63-3491EB5C7241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r="4671"/>
          <a:stretch/>
        </p:blipFill>
        <p:spPr>
          <a:xfrm>
            <a:off x="4957786" y="1031539"/>
            <a:ext cx="4679150" cy="2630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49352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38ED40-9917-A294-BEA6-82CFEB6E35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erodynamic Investigation: Simple Motions</a:t>
            </a:r>
            <a:endParaRPr lang="en-D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94EA77-4737-FD1E-A05D-4B2E2F5578A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Rigidly Attached Propeller – Wing Motion Variation</a:t>
            </a:r>
            <a:endParaRPr lang="en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Content Placeholder 2">
                <a:extLst>
                  <a:ext uri="{FF2B5EF4-FFF2-40B4-BE49-F238E27FC236}">
                    <a16:creationId xmlns:a16="http://schemas.microsoft.com/office/drawing/2014/main" id="{2D8B4533-EFCF-B987-1E09-BE27CF4D839D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350425" y="3949635"/>
                <a:ext cx="8928992" cy="9371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>
                <a:lvl1pPr marL="0" indent="0" algn="l" rtl="0" eaLnBrk="0" fontAlgn="base" hangingPunct="0">
                  <a:spcBef>
                    <a:spcPts val="0"/>
                  </a:spcBef>
                  <a:spcAft>
                    <a:spcPts val="0"/>
                  </a:spcAft>
                  <a:buFontTx/>
                  <a:buNone/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1pPr>
                <a:lvl2pPr marL="0" indent="0" algn="l" rtl="0" eaLnBrk="0" fontAlgn="base" hangingPunct="0">
                  <a:spcBef>
                    <a:spcPts val="2000"/>
                  </a:spcBef>
                  <a:spcAft>
                    <a:spcPct val="0"/>
                  </a:spcAft>
                  <a:buNone/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2pPr>
                <a:lvl3pPr marL="723900" indent="-3683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Verdana" pitchFamily="34" charset="0"/>
                  <a:buChar char="&gt;"/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3pPr>
                <a:lvl4pPr marL="0" indent="0" algn="l" rtl="0" eaLnBrk="0" fontAlgn="base" hangingPunct="0">
                  <a:spcBef>
                    <a:spcPts val="1600"/>
                  </a:spcBef>
                  <a:spcAft>
                    <a:spcPct val="0"/>
                  </a:spcAft>
                  <a:buFontTx/>
                  <a:buNone/>
                  <a:defRPr sz="11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4pPr>
                <a:lvl5pPr marL="723900" indent="-3683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Verdana" pitchFamily="34" charset="0"/>
                  <a:buChar char="&gt;"/>
                  <a:defRPr sz="11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r>
                  <a:rPr lang="en-US" sz="1200" dirty="0"/>
                  <a:t>At </a:t>
                </a:r>
                <a14:m>
                  <m:oMath xmlns:m="http://schemas.openxmlformats.org/officeDocument/2006/math">
                    <m:r>
                      <a:rPr lang="en-US" sz="1200" b="0" i="1" smtClean="0">
                        <a:latin typeface="Cambria Math" panose="02040503050406030204" pitchFamily="18" charset="0"/>
                      </a:rPr>
                      <m:t>𝑘</m:t>
                    </m:r>
                    <m:r>
                      <a:rPr lang="en-US" sz="1200" b="0" i="1" smtClean="0">
                        <a:latin typeface="Cambria Math" panose="02040503050406030204" pitchFamily="18" charset="0"/>
                      </a:rPr>
                      <m:t>=0</m:t>
                    </m:r>
                  </m:oMath>
                </a14:m>
                <a:r>
                  <a:rPr lang="en-US" sz="1200" dirty="0"/>
                  <a:t>, </a:t>
                </a:r>
                <a14:m>
                  <m:oMath xmlns:m="http://schemas.openxmlformats.org/officeDocument/2006/math">
                    <m:r>
                      <a:rPr lang="en-GB" sz="1200" i="1">
                        <a:latin typeface="Cambria Math" panose="02040503050406030204" pitchFamily="18" charset="0"/>
                      </a:rPr>
                      <m:t>∆</m:t>
                    </m:r>
                    <m:sSub>
                      <m:sSubPr>
                        <m:ctrlPr>
                          <a:rPr lang="en-DE" sz="12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200" i="1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en-GB" sz="1200" i="1">
                            <a:latin typeface="Cambria Math" panose="02040503050406030204" pitchFamily="18" charset="0"/>
                          </a:rPr>
                          <m:t>𝐿</m:t>
                        </m:r>
                      </m:sub>
                    </m:sSub>
                  </m:oMath>
                </a14:m>
                <a:r>
                  <a:rPr lang="en-GB" sz="1200" dirty="0"/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DE" sz="12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200" i="1">
                            <a:latin typeface="Cambria Math" panose="02040503050406030204" pitchFamily="18" charset="0"/>
                          </a:rPr>
                          <m:t>∆</m:t>
                        </m:r>
                        <m:r>
                          <a:rPr lang="en-GB" sz="1200" i="1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en-GB" sz="1200" i="1">
                            <a:latin typeface="Cambria Math" panose="02040503050406030204" pitchFamily="18" charset="0"/>
                          </a:rPr>
                          <m:t>𝑀</m:t>
                        </m:r>
                      </m:sub>
                    </m:sSub>
                  </m:oMath>
                </a14:m>
                <a:r>
                  <a:rPr lang="en-US" sz="1200" dirty="0"/>
                  <a:t> were non-zero for the pitching motion case and 0 for the plunging motion case.</a:t>
                </a:r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r>
                  <a:rPr lang="en-US" sz="1200" dirty="0"/>
                  <a:t>Presence of a peak value of </a:t>
                </a:r>
                <a14:m>
                  <m:oMath xmlns:m="http://schemas.openxmlformats.org/officeDocument/2006/math">
                    <m:r>
                      <a:rPr lang="en-GB" sz="1200" i="1">
                        <a:latin typeface="Cambria Math" panose="02040503050406030204" pitchFamily="18" charset="0"/>
                      </a:rPr>
                      <m:t>∆</m:t>
                    </m:r>
                    <m:sSub>
                      <m:sSubPr>
                        <m:ctrlPr>
                          <a:rPr lang="en-DE" sz="12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200" i="1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en-GB" sz="1200" i="1">
                            <a:latin typeface="Cambria Math" panose="02040503050406030204" pitchFamily="18" charset="0"/>
                          </a:rPr>
                          <m:t>𝐿</m:t>
                        </m:r>
                      </m:sub>
                    </m:sSub>
                  </m:oMath>
                </a14:m>
                <a:r>
                  <a:rPr lang="en-GB" sz="1200" dirty="0"/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DE" sz="12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200" i="1">
                            <a:latin typeface="Cambria Math" panose="02040503050406030204" pitchFamily="18" charset="0"/>
                          </a:rPr>
                          <m:t>∆</m:t>
                        </m:r>
                        <m:r>
                          <a:rPr lang="en-GB" sz="1200" i="1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en-GB" sz="1200" i="1">
                            <a:latin typeface="Cambria Math" panose="02040503050406030204" pitchFamily="18" charset="0"/>
                          </a:rPr>
                          <m:t>𝑀</m:t>
                        </m:r>
                      </m:sub>
                    </m:sSub>
                  </m:oMath>
                </a14:m>
                <a:r>
                  <a:rPr lang="en-US" sz="1200" dirty="0"/>
                  <a:t> indicated a </a:t>
                </a:r>
                <a:r>
                  <a:rPr lang="en-US" sz="1200" b="1" dirty="0"/>
                  <a:t>resonance-like </a:t>
                </a:r>
                <a:r>
                  <a:rPr lang="en-GB" sz="1200" b="1" dirty="0"/>
                  <a:t>behaviour</a:t>
                </a:r>
                <a:r>
                  <a:rPr lang="en-US" sz="1200" b="1" dirty="0"/>
                  <a:t> </a:t>
                </a:r>
                <a:r>
                  <a:rPr lang="en-US" sz="1200" dirty="0"/>
                  <a:t>at a </a:t>
                </a:r>
                <a:r>
                  <a:rPr lang="en-GB" sz="1200" dirty="0"/>
                  <a:t>certain reduced frequency at which the propeller’s influence on the wing is maximised.</a:t>
                </a:r>
                <a:endParaRPr lang="en-US" sz="1200" dirty="0"/>
              </a:p>
            </p:txBody>
          </p:sp>
        </mc:Choice>
        <mc:Fallback xmlns="">
          <p:sp>
            <p:nvSpPr>
              <p:cNvPr id="16" name="Content Placeholder 2">
                <a:extLst>
                  <a:ext uri="{FF2B5EF4-FFF2-40B4-BE49-F238E27FC236}">
                    <a16:creationId xmlns:a16="http://schemas.microsoft.com/office/drawing/2014/main" id="{2D8B4533-EFCF-B987-1E09-BE27CF4D839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50425" y="3949635"/>
                <a:ext cx="8928992" cy="937108"/>
              </a:xfrm>
              <a:prstGeom prst="rect">
                <a:avLst/>
              </a:prstGeom>
              <a:blipFill>
                <a:blip r:embed="rId2"/>
                <a:stretch>
                  <a:fillRect l="-956" t="-3247" r="-1365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3379DEE7-FB57-C60C-A33B-27D15882E962}"/>
                  </a:ext>
                </a:extLst>
              </p:cNvPr>
              <p:cNvSpPr txBox="1"/>
              <p:nvPr/>
            </p:nvSpPr>
            <p:spPr>
              <a:xfrm>
                <a:off x="543496" y="3233411"/>
                <a:ext cx="4142764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28600" indent="-228600" algn="ctr">
                  <a:buFont typeface="+mj-lt"/>
                  <a:buAutoNum type="alphaLcParenR"/>
                </a:pPr>
                <a:r>
                  <a:rPr lang="en-GB" sz="800" b="1" dirty="0">
                    <a:latin typeface="+mn-lt"/>
                  </a:rPr>
                  <a:t>Pitching Wing – Lift (top) and Moment (bottom) force variation:</a:t>
                </a:r>
              </a:p>
              <a:p>
                <a:pPr algn="ctr"/>
                <a:r>
                  <a:rPr lang="en-GB" sz="800" b="1" dirty="0">
                    <a:latin typeface="+mn-lt"/>
                  </a:rPr>
                  <a:t>Magnitude (left) and phase (right) representation; </a:t>
                </a:r>
                <a14:m>
                  <m:oMath xmlns:m="http://schemas.openxmlformats.org/officeDocument/2006/math">
                    <m:r>
                      <a:rPr lang="en-GB" sz="800" b="1" i="1" dirty="0" smtClean="0">
                        <a:latin typeface="Cambria Math" panose="02040503050406030204" pitchFamily="18" charset="0"/>
                      </a:rPr>
                      <m:t>𝑱</m:t>
                    </m:r>
                    <m:r>
                      <a:rPr lang="en-US" sz="800" b="1" i="1" dirty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800" b="1" i="1" dirty="0" smtClean="0">
                        <a:latin typeface="Cambria Math" panose="02040503050406030204" pitchFamily="18" charset="0"/>
                      </a:rPr>
                      <m:t>𝟎</m:t>
                    </m:r>
                    <m:r>
                      <a:rPr lang="en-US" sz="800" b="1" i="1" dirty="0" smtClean="0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800" b="1" i="1" dirty="0" smtClean="0">
                        <a:latin typeface="Cambria Math" panose="02040503050406030204" pitchFamily="18" charset="0"/>
                      </a:rPr>
                      <m:t>𝟗</m:t>
                    </m:r>
                  </m:oMath>
                </a14:m>
                <a:r>
                  <a:rPr lang="en-GB" sz="800" b="1" dirty="0">
                    <a:latin typeface="+mn-lt"/>
                  </a:rPr>
                  <a:t>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sz="800" b="1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800" b="1" i="1" dirty="0" smtClean="0">
                            <a:latin typeface="Cambria Math" panose="02040503050406030204" pitchFamily="18" charset="0"/>
                          </a:rPr>
                          <m:t>𝑪</m:t>
                        </m:r>
                      </m:e>
                      <m:sub>
                        <m:r>
                          <a:rPr lang="en-US" sz="800" b="1" i="1" dirty="0" smtClean="0">
                            <a:latin typeface="Cambria Math" panose="02040503050406030204" pitchFamily="18" charset="0"/>
                          </a:rPr>
                          <m:t>𝑻</m:t>
                        </m:r>
                      </m:sub>
                    </m:sSub>
                    <m:r>
                      <a:rPr lang="en-US" sz="800" b="1" i="1" dirty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800" b="1" i="1" dirty="0" smtClean="0">
                        <a:latin typeface="Cambria Math" panose="02040503050406030204" pitchFamily="18" charset="0"/>
                      </a:rPr>
                      <m:t>𝟎</m:t>
                    </m:r>
                    <m:r>
                      <a:rPr lang="en-US" sz="800" b="1" i="1" dirty="0" smtClean="0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800" b="1" i="1" dirty="0" smtClean="0">
                        <a:latin typeface="Cambria Math" panose="02040503050406030204" pitchFamily="18" charset="0"/>
                      </a:rPr>
                      <m:t>𝟏𝟑𝟑</m:t>
                    </m:r>
                  </m:oMath>
                </a14:m>
                <a:endParaRPr lang="en-GB" sz="800" b="1" dirty="0">
                  <a:latin typeface="+mn-lt"/>
                </a:endParaRP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3379DEE7-FB57-C60C-A33B-27D15882E96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3496" y="3233411"/>
                <a:ext cx="4142764" cy="338554"/>
              </a:xfrm>
              <a:prstGeom prst="rect">
                <a:avLst/>
              </a:prstGeom>
              <a:blipFill>
                <a:blip r:embed="rId3"/>
                <a:stretch>
                  <a:fillRect b="-3571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0" name="Picture 9">
            <a:extLst>
              <a:ext uri="{FF2B5EF4-FFF2-40B4-BE49-F238E27FC236}">
                <a16:creationId xmlns:a16="http://schemas.microsoft.com/office/drawing/2014/main" id="{CAB16B83-D2FD-DB02-B413-701C7504C00A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540" r="4367"/>
          <a:stretch/>
        </p:blipFill>
        <p:spPr>
          <a:xfrm>
            <a:off x="4936049" y="1185308"/>
            <a:ext cx="4758268" cy="2060255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2B6D0ABC-8DF9-F368-9A21-506E62BC29C1}"/>
                  </a:ext>
                </a:extLst>
              </p:cNvPr>
              <p:cNvSpPr txBox="1"/>
              <p:nvPr/>
            </p:nvSpPr>
            <p:spPr>
              <a:xfrm>
                <a:off x="5347457" y="3198180"/>
                <a:ext cx="4142764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28600" indent="-228600" algn="ctr">
                  <a:buFont typeface="+mj-lt"/>
                  <a:buAutoNum type="alphaLcParenR" startAt="2"/>
                </a:pPr>
                <a:r>
                  <a:rPr lang="en-GB" sz="800" b="1" dirty="0">
                    <a:latin typeface="+mn-lt"/>
                  </a:rPr>
                  <a:t>Plunging Wing – Lift (top) and Moment (bottom) force variation:</a:t>
                </a:r>
              </a:p>
              <a:p>
                <a:pPr algn="ctr"/>
                <a:r>
                  <a:rPr lang="en-GB" sz="800" b="1" dirty="0">
                    <a:latin typeface="+mn-lt"/>
                  </a:rPr>
                  <a:t>Magnitude (left) and phase (right) representation; </a:t>
                </a:r>
                <a14:m>
                  <m:oMath xmlns:m="http://schemas.openxmlformats.org/officeDocument/2006/math">
                    <m:r>
                      <a:rPr lang="en-GB" sz="800" b="1" i="1" dirty="0" smtClean="0">
                        <a:latin typeface="Cambria Math" panose="02040503050406030204" pitchFamily="18" charset="0"/>
                      </a:rPr>
                      <m:t>𝑱</m:t>
                    </m:r>
                    <m:r>
                      <a:rPr lang="en-US" sz="800" b="1" i="1" dirty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800" b="1" i="1" dirty="0" smtClean="0">
                        <a:latin typeface="Cambria Math" panose="02040503050406030204" pitchFamily="18" charset="0"/>
                      </a:rPr>
                      <m:t>𝟎</m:t>
                    </m:r>
                    <m:r>
                      <a:rPr lang="en-US" sz="800" b="1" i="1" dirty="0" smtClean="0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800" b="1" i="1" dirty="0" smtClean="0">
                        <a:latin typeface="Cambria Math" panose="02040503050406030204" pitchFamily="18" charset="0"/>
                      </a:rPr>
                      <m:t>𝟗</m:t>
                    </m:r>
                  </m:oMath>
                </a14:m>
                <a:r>
                  <a:rPr lang="en-GB" sz="800" b="1" dirty="0">
                    <a:latin typeface="+mn-lt"/>
                  </a:rPr>
                  <a:t>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sz="800" b="1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800" b="1" i="1" dirty="0" smtClean="0">
                            <a:latin typeface="Cambria Math" panose="02040503050406030204" pitchFamily="18" charset="0"/>
                          </a:rPr>
                          <m:t>𝑪</m:t>
                        </m:r>
                      </m:e>
                      <m:sub>
                        <m:r>
                          <a:rPr lang="en-US" sz="800" b="1" i="1" dirty="0" smtClean="0">
                            <a:latin typeface="Cambria Math" panose="02040503050406030204" pitchFamily="18" charset="0"/>
                          </a:rPr>
                          <m:t>𝑻</m:t>
                        </m:r>
                      </m:sub>
                    </m:sSub>
                    <m:r>
                      <a:rPr lang="en-US" sz="800" b="1" i="1" dirty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800" b="1" i="1" dirty="0" smtClean="0">
                        <a:latin typeface="Cambria Math" panose="02040503050406030204" pitchFamily="18" charset="0"/>
                      </a:rPr>
                      <m:t>𝟎</m:t>
                    </m:r>
                    <m:r>
                      <a:rPr lang="en-US" sz="800" b="1" i="1" dirty="0" smtClean="0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800" b="1" i="1" dirty="0" smtClean="0">
                        <a:latin typeface="Cambria Math" panose="02040503050406030204" pitchFamily="18" charset="0"/>
                      </a:rPr>
                      <m:t>𝟏𝟑𝟑</m:t>
                    </m:r>
                  </m:oMath>
                </a14:m>
                <a:endParaRPr lang="en-GB" sz="800" b="1" dirty="0">
                  <a:latin typeface="+mn-lt"/>
                </a:endParaRPr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2B6D0ABC-8DF9-F368-9A21-506E62BC29C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47457" y="3198180"/>
                <a:ext cx="4142764" cy="338554"/>
              </a:xfrm>
              <a:prstGeom prst="rect">
                <a:avLst/>
              </a:prstGeom>
              <a:blipFill>
                <a:blip r:embed="rId5"/>
                <a:stretch>
                  <a:fillRect b="-5455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8" name="Picture 7">
            <a:extLst>
              <a:ext uri="{FF2B5EF4-FFF2-40B4-BE49-F238E27FC236}">
                <a16:creationId xmlns:a16="http://schemas.microsoft.com/office/drawing/2014/main" id="{9FF68F1E-5815-A916-93AD-0E4FE79740FE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1836" r="4071"/>
          <a:stretch/>
        </p:blipFill>
        <p:spPr>
          <a:xfrm>
            <a:off x="56653" y="1180946"/>
            <a:ext cx="4758268" cy="2060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10299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38ED40-9917-A294-BEA6-82CFEB6E35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erodynamic Investigation: Simple Motions</a:t>
            </a:r>
            <a:endParaRPr lang="en-D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94EA77-4737-FD1E-A05D-4B2E2F5578A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Rigidly Attached Propeller – Propeller Settings Variation</a:t>
            </a:r>
            <a:endParaRPr lang="en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Content Placeholder 2">
                <a:extLst>
                  <a:ext uri="{FF2B5EF4-FFF2-40B4-BE49-F238E27FC236}">
                    <a16:creationId xmlns:a16="http://schemas.microsoft.com/office/drawing/2014/main" id="{2D8B4533-EFCF-B987-1E09-BE27CF4D839D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317500" y="4153644"/>
                <a:ext cx="9371012" cy="12070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>
                <a:lvl1pPr marL="0" indent="0" algn="l" rtl="0" eaLnBrk="0" fontAlgn="base" hangingPunct="0">
                  <a:spcBef>
                    <a:spcPts val="0"/>
                  </a:spcBef>
                  <a:spcAft>
                    <a:spcPts val="0"/>
                  </a:spcAft>
                  <a:buFontTx/>
                  <a:buNone/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1pPr>
                <a:lvl2pPr marL="0" indent="0" algn="l" rtl="0" eaLnBrk="0" fontAlgn="base" hangingPunct="0">
                  <a:spcBef>
                    <a:spcPts val="2000"/>
                  </a:spcBef>
                  <a:spcAft>
                    <a:spcPct val="0"/>
                  </a:spcAft>
                  <a:buNone/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2pPr>
                <a:lvl3pPr marL="723900" indent="-3683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Verdana" pitchFamily="34" charset="0"/>
                  <a:buChar char="&gt;"/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3pPr>
                <a:lvl4pPr marL="0" indent="0" algn="l" rtl="0" eaLnBrk="0" fontAlgn="base" hangingPunct="0">
                  <a:spcBef>
                    <a:spcPts val="1600"/>
                  </a:spcBef>
                  <a:spcAft>
                    <a:spcPct val="0"/>
                  </a:spcAft>
                  <a:buFontTx/>
                  <a:buNone/>
                  <a:defRPr sz="11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4pPr>
                <a:lvl5pPr marL="723900" indent="-3683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Verdana" pitchFamily="34" charset="0"/>
                  <a:buChar char="&gt;"/>
                  <a:defRPr sz="11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r>
                  <a:rPr lang="en-US" sz="1200" dirty="0">
                    <a:latin typeface="+mn-lt"/>
                  </a:rPr>
                  <a:t>Positiv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2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200" b="0" i="1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en-US" sz="1200" b="0" i="1">
                            <a:latin typeface="Cambria Math" panose="02040503050406030204" pitchFamily="18" charset="0"/>
                          </a:rPr>
                          <m:t>𝑇</m:t>
                        </m:r>
                      </m:sub>
                    </m:sSub>
                  </m:oMath>
                </a14:m>
                <a:r>
                  <a:rPr lang="en-US" sz="1200" dirty="0">
                    <a:latin typeface="+mn-lt"/>
                  </a:rPr>
                  <a:t> resulted in positive variations in the lift and moment coefficients (</a:t>
                </a:r>
                <a14:m>
                  <m:oMath xmlns:m="http://schemas.openxmlformats.org/officeDocument/2006/math">
                    <m:r>
                      <a:rPr lang="en-GB" sz="1200" b="0" i="1">
                        <a:latin typeface="Cambria Math" panose="02040503050406030204" pitchFamily="18" charset="0"/>
                      </a:rPr>
                      <m:t>∆</m:t>
                    </m:r>
                    <m:sSub>
                      <m:sSubPr>
                        <m:ctrlPr>
                          <a:rPr lang="en-DE" sz="12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200" b="0" i="1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en-GB" sz="1200" b="0" i="1">
                            <a:latin typeface="Cambria Math" panose="02040503050406030204" pitchFamily="18" charset="0"/>
                          </a:rPr>
                          <m:t>𝐿</m:t>
                        </m:r>
                      </m:sub>
                    </m:sSub>
                    <m:r>
                      <a:rPr lang="en-US" sz="1200" b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DE" sz="12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200" i="1">
                            <a:latin typeface="Cambria Math" panose="02040503050406030204" pitchFamily="18" charset="0"/>
                          </a:rPr>
                          <m:t>∆</m:t>
                        </m:r>
                        <m:r>
                          <a:rPr lang="en-GB" sz="1200" i="1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en-GB" sz="1200" i="1">
                            <a:latin typeface="Cambria Math" panose="02040503050406030204" pitchFamily="18" charset="0"/>
                          </a:rPr>
                          <m:t>𝑀</m:t>
                        </m:r>
                      </m:sub>
                    </m:sSub>
                  </m:oMath>
                </a14:m>
                <a:r>
                  <a:rPr lang="en-GB" sz="1200" dirty="0">
                    <a:latin typeface="+mn-lt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) and phase shifts (</a:t>
                </a:r>
                <a14:m>
                  <m:oMath xmlns:m="http://schemas.openxmlformats.org/officeDocument/2006/math">
                    <m:r>
                      <a:rPr lang="en-GB" sz="1200" b="0" i="1"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∆</m:t>
                    </m:r>
                    <m:sSub>
                      <m:sSubPr>
                        <m:ctrlPr>
                          <a:rPr lang="en-DE" sz="1200" i="1"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GB" sz="1200" b="0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𝜓</m:t>
                        </m:r>
                      </m:e>
                      <m:sub>
                        <m:r>
                          <a:rPr lang="en-GB" sz="1200" b="0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𝐿</m:t>
                        </m:r>
                      </m:sub>
                    </m:sSub>
                    <m:r>
                      <a:rPr lang="en-US" sz="1200" b="0" i="0" smtClean="0"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, </m:t>
                    </m:r>
                    <m:r>
                      <a:rPr lang="en-GB" sz="1200" b="0" i="1"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∆</m:t>
                    </m:r>
                    <m:sSub>
                      <m:sSubPr>
                        <m:ctrlPr>
                          <a:rPr lang="en-DE" sz="1200" i="1"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GB" sz="1200" b="0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𝜓</m:t>
                        </m:r>
                      </m:e>
                      <m:sub>
                        <m:r>
                          <a:rPr lang="en-GB" sz="1200" b="0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𝑀</m:t>
                        </m:r>
                      </m:sub>
                    </m:sSub>
                  </m:oMath>
                </a14:m>
                <a:r>
                  <a:rPr lang="en-US" sz="1200" dirty="0">
                    <a:latin typeface="+mn-lt"/>
                  </a:rPr>
                  <a:t>).</a:t>
                </a:r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r>
                  <a:rPr lang="en-US" sz="1200" dirty="0"/>
                  <a:t>As </a:t>
                </a:r>
                <a14:m>
                  <m:oMath xmlns:m="http://schemas.openxmlformats.org/officeDocument/2006/math">
                    <m:r>
                      <a:rPr lang="en-US" sz="1200" i="1">
                        <a:latin typeface="Cambria Math" panose="02040503050406030204" pitchFamily="18" charset="0"/>
                      </a:rPr>
                      <m:t>𝐽</m:t>
                    </m:r>
                  </m:oMath>
                </a14:m>
                <a:r>
                  <a:rPr lang="en-US" sz="1200" dirty="0"/>
                  <a:t> increased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2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200" i="1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en-US" sz="1200" i="1">
                            <a:latin typeface="Cambria Math" panose="02040503050406030204" pitchFamily="18" charset="0"/>
                          </a:rPr>
                          <m:t>𝑇</m:t>
                        </m:r>
                      </m:sub>
                    </m:sSub>
                  </m:oMath>
                </a14:m>
                <a:r>
                  <a:rPr lang="en-US" sz="1200" dirty="0"/>
                  <a:t> decreased), the variations in the forces and phase shifts also decreased.</a:t>
                </a:r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r>
                  <a:rPr lang="en-US" sz="1200" dirty="0"/>
                  <a:t>The propeller had </a:t>
                </a:r>
                <a:r>
                  <a:rPr lang="en-US" sz="1200" b="1" dirty="0"/>
                  <a:t>no influence</a:t>
                </a:r>
                <a:r>
                  <a:rPr lang="en-US" sz="1200" dirty="0"/>
                  <a:t> on the wing at </a:t>
                </a:r>
                <a:r>
                  <a:rPr lang="en-US" sz="1200" b="1" dirty="0"/>
                  <a:t>windmilling conditions</a:t>
                </a:r>
                <a:r>
                  <a:rPr lang="en-US" sz="1200" dirty="0"/>
                  <a:t> (</a:t>
                </a:r>
                <a14:m>
                  <m:oMath xmlns:m="http://schemas.openxmlformats.org/officeDocument/2006/math">
                    <m:r>
                      <a:rPr lang="en-US" sz="1200" i="1">
                        <a:latin typeface="Cambria Math" panose="02040503050406030204" pitchFamily="18" charset="0"/>
                      </a:rPr>
                      <m:t>𝐽</m:t>
                    </m:r>
                    <m:r>
                      <a:rPr lang="en-US" sz="12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≈</m:t>
                    </m:r>
                    <m:r>
                      <a:rPr lang="en-US" sz="1200" i="1">
                        <a:latin typeface="Cambria Math" panose="02040503050406030204" pitchFamily="18" charset="0"/>
                      </a:rPr>
                      <m:t>1.1</m:t>
                    </m:r>
                    <m:r>
                      <a:rPr lang="en-US" sz="1200" b="0" i="1" smtClean="0">
                        <a:latin typeface="Cambria Math" panose="02040503050406030204" pitchFamily="18" charset="0"/>
                      </a:rPr>
                      <m:t>2</m:t>
                    </m:r>
                    <m:r>
                      <a:rPr lang="en-US" sz="1200" i="1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sz="12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200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en-US" sz="1200" b="0" i="1" smtClean="0">
                            <a:latin typeface="Cambria Math" panose="02040503050406030204" pitchFamily="18" charset="0"/>
                          </a:rPr>
                          <m:t>𝑇</m:t>
                        </m:r>
                      </m:sub>
                    </m:sSub>
                    <m:r>
                      <a:rPr lang="en-US" sz="1200" b="0" i="1" smtClean="0">
                        <a:latin typeface="Cambria Math" panose="02040503050406030204" pitchFamily="18" charset="0"/>
                      </a:rPr>
                      <m:t>=0</m:t>
                    </m:r>
                  </m:oMath>
                </a14:m>
                <a:r>
                  <a:rPr lang="en-US" sz="1200" dirty="0"/>
                  <a:t>).</a:t>
                </a:r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r>
                  <a:rPr lang="en-US" sz="1200" dirty="0"/>
                  <a:t>The wing forces are more sensitive to vertical motions of the propeller.</a:t>
                </a:r>
                <a:endParaRPr lang="en-DE" sz="1500" dirty="0"/>
              </a:p>
            </p:txBody>
          </p:sp>
        </mc:Choice>
        <mc:Fallback xmlns="">
          <p:sp>
            <p:nvSpPr>
              <p:cNvPr id="16" name="Content Placeholder 2">
                <a:extLst>
                  <a:ext uri="{FF2B5EF4-FFF2-40B4-BE49-F238E27FC236}">
                    <a16:creationId xmlns:a16="http://schemas.microsoft.com/office/drawing/2014/main" id="{2D8B4533-EFCF-B987-1E09-BE27CF4D839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17500" y="4153644"/>
                <a:ext cx="9371012" cy="1207076"/>
              </a:xfrm>
              <a:prstGeom prst="rect">
                <a:avLst/>
              </a:prstGeom>
              <a:blipFill>
                <a:blip r:embed="rId2"/>
                <a:stretch>
                  <a:fillRect l="-911" t="-2525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3379DEE7-FB57-C60C-A33B-27D15882E962}"/>
                  </a:ext>
                </a:extLst>
              </p:cNvPr>
              <p:cNvSpPr txBox="1"/>
              <p:nvPr/>
            </p:nvSpPr>
            <p:spPr>
              <a:xfrm>
                <a:off x="543496" y="3649587"/>
                <a:ext cx="4142764" cy="3495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28600" indent="-228600" algn="ctr">
                  <a:buFont typeface="+mj-lt"/>
                  <a:buAutoNum type="alphaLcParenR"/>
                </a:pPr>
                <a:r>
                  <a:rPr lang="en-GB" sz="800" b="1" dirty="0">
                    <a:latin typeface="+mn-lt"/>
                  </a:rPr>
                  <a:t>Pitching Wing – Lift (top) and Moment (bottom) force variation:</a:t>
                </a:r>
              </a:p>
              <a:p>
                <a:pPr algn="ctr"/>
                <a:r>
                  <a:rPr lang="en-GB" sz="800" b="1" dirty="0">
                    <a:latin typeface="+mn-lt"/>
                  </a:rPr>
                  <a:t>Magnitude (left) and phase (right) representation;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sz="800" b="1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800" b="1" i="1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𝜶</m:t>
                        </m:r>
                      </m:e>
                      <m:sub>
                        <m:sSub>
                          <m:sSubPr>
                            <m:ctrlPr>
                              <a:rPr lang="en-GB" sz="800" b="1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800" b="1" i="1" dirty="0">
                                <a:latin typeface="Cambria Math" panose="02040503050406030204" pitchFamily="18" charset="0"/>
                              </a:rPr>
                              <m:t>𝑾</m:t>
                            </m:r>
                          </m:e>
                          <m:sub>
                            <m:r>
                              <a:rPr lang="en-US" sz="800" b="1" i="1" dirty="0">
                                <a:latin typeface="Cambria Math" panose="02040503050406030204" pitchFamily="18" charset="0"/>
                              </a:rPr>
                              <m:t>𝑴𝒂𝒙</m:t>
                            </m:r>
                          </m:sub>
                        </m:sSub>
                      </m:sub>
                    </m:sSub>
                    <m:r>
                      <a:rPr lang="en-US" sz="800" b="1" i="1" dirty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800" b="1" i="1" dirty="0">
                        <a:latin typeface="Cambria Math" panose="02040503050406030204" pitchFamily="18" charset="0"/>
                      </a:rPr>
                      <m:t>𝟒</m:t>
                    </m:r>
                    <m:r>
                      <a:rPr lang="en-US" sz="800" b="1" i="1" dirty="0">
                        <a:latin typeface="Cambria Math" panose="02040503050406030204" pitchFamily="18" charset="0"/>
                      </a:rPr>
                      <m:t>°</m:t>
                    </m:r>
                  </m:oMath>
                </a14:m>
                <a:endParaRPr lang="en-GB" sz="800" b="1" dirty="0">
                  <a:latin typeface="+mn-lt"/>
                </a:endParaRP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3379DEE7-FB57-C60C-A33B-27D15882E96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3496" y="3649587"/>
                <a:ext cx="4142764" cy="349583"/>
              </a:xfrm>
              <a:prstGeom prst="rect">
                <a:avLst/>
              </a:prstGeom>
              <a:blipFill>
                <a:blip r:embed="rId3"/>
                <a:stretch>
                  <a:fillRect b="-1754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2B6D0ABC-8DF9-F368-9A21-506E62BC29C1}"/>
                  </a:ext>
                </a:extLst>
              </p:cNvPr>
              <p:cNvSpPr txBox="1"/>
              <p:nvPr/>
            </p:nvSpPr>
            <p:spPr>
              <a:xfrm>
                <a:off x="5368032" y="3655101"/>
                <a:ext cx="4142764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28600" indent="-228600" algn="ctr">
                  <a:buFont typeface="+mj-lt"/>
                  <a:buAutoNum type="alphaLcParenR" startAt="2"/>
                </a:pPr>
                <a:r>
                  <a:rPr lang="en-GB" sz="800" b="1" dirty="0">
                    <a:latin typeface="+mn-lt"/>
                  </a:rPr>
                  <a:t>Plunging Wing – Lift (top) and Moment (bottom) force variation:</a:t>
                </a:r>
              </a:p>
              <a:p>
                <a:pPr algn="ctr"/>
                <a:r>
                  <a:rPr lang="en-GB" sz="800" b="1" dirty="0">
                    <a:latin typeface="+mn-lt"/>
                  </a:rPr>
                  <a:t>Magnitude (left) and phase (right) representation; </a:t>
                </a:r>
                <a14:m>
                  <m:oMath xmlns:m="http://schemas.openxmlformats.org/officeDocument/2006/math">
                    <m:r>
                      <a:rPr lang="en-US" sz="800" b="1" i="1">
                        <a:latin typeface="Cambria Math" panose="02040503050406030204" pitchFamily="18" charset="0"/>
                      </a:rPr>
                      <m:t>𝒉</m:t>
                    </m:r>
                    <m:r>
                      <a:rPr lang="en-US" sz="800" b="1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800" b="1" i="1">
                        <a:latin typeface="Cambria Math" panose="02040503050406030204" pitchFamily="18" charset="0"/>
                      </a:rPr>
                      <m:t>𝟎</m:t>
                    </m:r>
                    <m:r>
                      <a:rPr lang="en-US" sz="800" b="1" i="1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800" b="1" i="1">
                        <a:latin typeface="Cambria Math" panose="02040503050406030204" pitchFamily="18" charset="0"/>
                      </a:rPr>
                      <m:t>𝟎𝟓</m:t>
                    </m:r>
                  </m:oMath>
                </a14:m>
                <a:endParaRPr lang="en-GB" sz="800" b="1" dirty="0">
                  <a:latin typeface="+mn-lt"/>
                </a:endParaRPr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2B6D0ABC-8DF9-F368-9A21-506E62BC29C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68032" y="3655101"/>
                <a:ext cx="4142764" cy="338554"/>
              </a:xfrm>
              <a:prstGeom prst="rect">
                <a:avLst/>
              </a:prstGeom>
              <a:blipFill>
                <a:blip r:embed="rId4"/>
                <a:stretch>
                  <a:fillRect b="-5455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8" name="Picture 7">
            <a:extLst>
              <a:ext uri="{FF2B5EF4-FFF2-40B4-BE49-F238E27FC236}">
                <a16:creationId xmlns:a16="http://schemas.microsoft.com/office/drawing/2014/main" id="{502BB2EA-3478-92E0-2F7E-57A71C683C73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r="3724"/>
          <a:stretch/>
        </p:blipFill>
        <p:spPr>
          <a:xfrm>
            <a:off x="5368032" y="1036747"/>
            <a:ext cx="3758793" cy="260279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F2C9CE2-A0E8-B7AA-57AD-7571F49FA07B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r="3309"/>
          <a:stretch/>
        </p:blipFill>
        <p:spPr>
          <a:xfrm>
            <a:off x="668832" y="1046789"/>
            <a:ext cx="3781775" cy="2607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7969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38ED40-9917-A294-BEA6-82CFEB6E35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erodynamic Investigation: Simple Motions</a:t>
            </a:r>
            <a:endParaRPr lang="en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6" name="Content Placeholder 5">
                <a:extLst>
                  <a:ext uri="{FF2B5EF4-FFF2-40B4-BE49-F238E27FC236}">
                    <a16:creationId xmlns:a16="http://schemas.microsoft.com/office/drawing/2014/main" id="{1D062EA0-CDCF-48DC-6C73-3A9678449E30}"/>
                  </a:ext>
                </a:extLst>
              </p:cNvPr>
              <p:cNvGraphicFramePr>
                <a:graphicFrameLocks noGrp="1"/>
              </p:cNvGraphicFramePr>
              <p:nvPr>
                <p:ph idx="1"/>
                <p:extLst>
                  <p:ext uri="{D42A27DB-BD31-4B8C-83A1-F6EECF244321}">
                    <p14:modId xmlns:p14="http://schemas.microsoft.com/office/powerpoint/2010/main" val="1115981959"/>
                  </p:ext>
                </p:extLst>
              </p:nvPr>
            </p:nvGraphicFramePr>
            <p:xfrm>
              <a:off x="225920" y="1044910"/>
              <a:ext cx="4734338" cy="132114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934138">
                      <a:extLst>
                        <a:ext uri="{9D8B030D-6E8A-4147-A177-3AD203B41FA5}">
                          <a16:colId xmlns:a16="http://schemas.microsoft.com/office/drawing/2014/main" val="3292926077"/>
                        </a:ext>
                      </a:extLst>
                    </a:gridCol>
                    <a:gridCol w="1800200">
                      <a:extLst>
                        <a:ext uri="{9D8B030D-6E8A-4147-A177-3AD203B41FA5}">
                          <a16:colId xmlns:a16="http://schemas.microsoft.com/office/drawing/2014/main" val="4200956874"/>
                        </a:ext>
                      </a:extLst>
                    </a:gridCol>
                  </a:tblGrid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Parameter (Fixed)</a:t>
                          </a:r>
                          <a:endParaRPr lang="en-DE" sz="1200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Value</a:t>
                          </a:r>
                          <a:endParaRPr lang="en-DE" sz="1200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765532567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Advance ratio (</a:t>
                          </a:r>
                          <a14:m>
                            <m:oMath xmlns:m="http://schemas.openxmlformats.org/officeDocument/2006/math"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Times New Roman" panose="02020603050405020304" pitchFamily="18" charset="0"/>
                                </a:rPr>
                                <m:t>𝐽</m:t>
                              </m:r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, −</m:t>
                              </m:r>
                            </m:oMath>
                          </a14:m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9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93988315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Wing initial angle of attack (</a:t>
                          </a: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US" sz="1200" b="0" i="1" smtClean="0">
                                      <a:effectLst/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GB" sz="1200" i="1" smtClean="0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  <m:t>𝛼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en-US" sz="1200" b="0" i="1" smtClean="0">
                                          <a:effectLst/>
                                          <a:latin typeface="Cambria Math" panose="02040503050406030204" pitchFamily="18" charset="0"/>
                                          <a:cs typeface="Arial" panose="020B0604020202020204" pitchFamily="34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1200" b="0" i="1" smtClean="0">
                                          <a:effectLst/>
                                          <a:latin typeface="Cambria Math" panose="02040503050406030204" pitchFamily="18" charset="0"/>
                                          <a:cs typeface="Arial" panose="020B0604020202020204" pitchFamily="34" charset="0"/>
                                        </a:rPr>
                                        <m:t>𝑊</m:t>
                                      </m:r>
                                    </m:e>
                                    <m:sub>
                                      <m:r>
                                        <a:rPr lang="en-US" sz="1200" b="0" i="1" smtClean="0">
                                          <a:effectLst/>
                                          <a:latin typeface="Cambria Math" panose="02040503050406030204" pitchFamily="18" charset="0"/>
                                          <a:cs typeface="Arial" panose="020B0604020202020204" pitchFamily="34" charset="0"/>
                                        </a:rPr>
                                        <m:t>0</m:t>
                                      </m:r>
                                    </m:sub>
                                  </m:sSub>
                                </m:sub>
                              </m:sSub>
                              <m:r>
                                <a:rPr lang="en-US" sz="1200" b="0" i="0" smtClean="0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, </m:t>
                              </m:r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𝑑𝑒𝑔</m:t>
                              </m:r>
                            </m:oMath>
                          </a14:m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4091580403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Wing phase offset (</a:t>
                          </a: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GB" sz="1200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  <m:t>φ</m:t>
                                  </m:r>
                                </m:e>
                                <m:sub>
                                  <m:r>
                                    <a:rPr lang="en-US" sz="1200" b="0" i="1" smtClean="0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  <m:t>𝑊</m:t>
                                  </m:r>
                                </m:sub>
                              </m:sSub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, </m:t>
                              </m:r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𝑑𝑒𝑔</m:t>
                              </m:r>
                            </m:oMath>
                          </a14:m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708555244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Propeller initial angle of attack (</a:t>
                          </a: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US" sz="1200" b="0" i="1" smtClean="0">
                                      <a:effectLst/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GB" sz="1200" i="1" smtClean="0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  <m:t>𝛼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en-US" sz="1200" b="0" i="1" smtClean="0">
                                          <a:effectLst/>
                                          <a:latin typeface="Cambria Math" panose="02040503050406030204" pitchFamily="18" charset="0"/>
                                          <a:cs typeface="Arial" panose="020B0604020202020204" pitchFamily="34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1200" b="0" i="1" smtClean="0">
                                          <a:effectLst/>
                                          <a:latin typeface="Cambria Math" panose="02040503050406030204" pitchFamily="18" charset="0"/>
                                          <a:cs typeface="Arial" panose="020B0604020202020204" pitchFamily="34" charset="0"/>
                                        </a:rPr>
                                        <m:t>𝑊</m:t>
                                      </m:r>
                                    </m:e>
                                    <m:sub>
                                      <m:r>
                                        <a:rPr lang="en-US" sz="1200" b="0" i="1" smtClean="0">
                                          <a:effectLst/>
                                          <a:latin typeface="Cambria Math" panose="02040503050406030204" pitchFamily="18" charset="0"/>
                                          <a:cs typeface="Arial" panose="020B0604020202020204" pitchFamily="34" charset="0"/>
                                        </a:rPr>
                                        <m:t>0</m:t>
                                      </m:r>
                                    </m:sub>
                                  </m:sSub>
                                </m:sub>
                              </m:sSub>
                              <m:r>
                                <a:rPr lang="en-US" sz="1200" b="0" i="0" smtClean="0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, </m:t>
                              </m:r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𝑑𝑒𝑔</m:t>
                              </m:r>
                            </m:oMath>
                          </a14:m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84144286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6" name="Content Placeholder 5">
                <a:extLst>
                  <a:ext uri="{FF2B5EF4-FFF2-40B4-BE49-F238E27FC236}">
                    <a16:creationId xmlns:a16="http://schemas.microsoft.com/office/drawing/2014/main" id="{1D062EA0-CDCF-48DC-6C73-3A9678449E30}"/>
                  </a:ext>
                </a:extLst>
              </p:cNvPr>
              <p:cNvGraphicFramePr>
                <a:graphicFrameLocks noGrp="1"/>
              </p:cNvGraphicFramePr>
              <p:nvPr>
                <p:ph idx="1"/>
                <p:extLst>
                  <p:ext uri="{D42A27DB-BD31-4B8C-83A1-F6EECF244321}">
                    <p14:modId xmlns:p14="http://schemas.microsoft.com/office/powerpoint/2010/main" val="1115981959"/>
                  </p:ext>
                </p:extLst>
              </p:nvPr>
            </p:nvGraphicFramePr>
            <p:xfrm>
              <a:off x="225920" y="1044910"/>
              <a:ext cx="4734338" cy="132114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934138">
                      <a:extLst>
                        <a:ext uri="{9D8B030D-6E8A-4147-A177-3AD203B41FA5}">
                          <a16:colId xmlns:a16="http://schemas.microsoft.com/office/drawing/2014/main" val="3292926077"/>
                        </a:ext>
                      </a:extLst>
                    </a:gridCol>
                    <a:gridCol w="1800200">
                      <a:extLst>
                        <a:ext uri="{9D8B030D-6E8A-4147-A177-3AD203B41FA5}">
                          <a16:colId xmlns:a16="http://schemas.microsoft.com/office/drawing/2014/main" val="4200956874"/>
                        </a:ext>
                      </a:extLst>
                    </a:gridCol>
                  </a:tblGrid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Parameter (Fixed)</a:t>
                          </a:r>
                          <a:endParaRPr lang="en-DE" sz="1200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Value</a:t>
                          </a:r>
                          <a:endParaRPr lang="en-DE" sz="1200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765532567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7"/>
                          <a:stretch>
                            <a:fillRect l="-207" t="-113953" r="-62033" b="-31860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9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93988315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7"/>
                          <a:stretch>
                            <a:fillRect l="-207" t="-209091" r="-62033" b="-21136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4091580403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7"/>
                          <a:stretch>
                            <a:fillRect l="-207" t="-316279" r="-62033" b="-11627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708555244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7"/>
                          <a:stretch>
                            <a:fillRect l="-207" t="-406818" r="-62033" b="-1363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84144286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94EA77-4737-FD1E-A05D-4B2E2F5578A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Flexibly Attached Propeller</a:t>
            </a:r>
            <a:endParaRPr lang="en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8" name="Table 7">
                <a:extLst>
                  <a:ext uri="{FF2B5EF4-FFF2-40B4-BE49-F238E27FC236}">
                    <a16:creationId xmlns:a16="http://schemas.microsoft.com/office/drawing/2014/main" id="{CFEA7E32-5540-926A-E681-ADDA9BC3778E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944337164"/>
                  </p:ext>
                </p:extLst>
              </p:nvPr>
            </p:nvGraphicFramePr>
            <p:xfrm>
              <a:off x="218528" y="2411648"/>
              <a:ext cx="4734338" cy="1378265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934138">
                      <a:extLst>
                        <a:ext uri="{9D8B030D-6E8A-4147-A177-3AD203B41FA5}">
                          <a16:colId xmlns:a16="http://schemas.microsoft.com/office/drawing/2014/main" val="4238621393"/>
                        </a:ext>
                      </a:extLst>
                    </a:gridCol>
                    <a:gridCol w="1800200">
                      <a:extLst>
                        <a:ext uri="{9D8B030D-6E8A-4147-A177-3AD203B41FA5}">
                          <a16:colId xmlns:a16="http://schemas.microsoft.com/office/drawing/2014/main" val="2029339879"/>
                        </a:ext>
                      </a:extLst>
                    </a:gridCol>
                  </a:tblGrid>
                  <a:tr h="226075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b="1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Parameter (Varying)</a:t>
                          </a:r>
                          <a:endParaRPr lang="en-DE" sz="1200" b="1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b="1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Range</a:t>
                          </a:r>
                          <a:endParaRPr lang="en-DE" sz="1200" b="1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018589997"/>
                      </a:ext>
                    </a:extLst>
                  </a:tr>
                  <a:tr h="236983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Wing pitch amplitude (</a:t>
                          </a: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  <m:t>𝛼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en-DE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  <m:t>𝑊</m:t>
                                      </m:r>
                                    </m:e>
                                    <m:sub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  <m:t>𝑀𝑎𝑥</m:t>
                                      </m:r>
                                    </m:sub>
                                  </m:sSub>
                                </m:sub>
                              </m:sSub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, </m:t>
                              </m:r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𝑑𝑒𝑔</m:t>
                              </m:r>
                            </m:oMath>
                          </a14:m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Arial" panose="020B0604020202020204" pitchFamily="34" charset="0"/>
                            </a:rPr>
                            <a:t>2, 4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866479078"/>
                      </a:ext>
                    </a:extLst>
                  </a:tr>
                  <a:tr h="226075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Normalised plunge amplitude (</a:t>
                          </a:r>
                          <a14:m>
                            <m:oMath xmlns:m="http://schemas.openxmlformats.org/officeDocument/2006/math"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h</m:t>
                              </m:r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, −</m:t>
                              </m:r>
                            </m:oMath>
                          </a14:m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Arial" panose="020B0604020202020204" pitchFamily="34" charset="0"/>
                            </a:rPr>
                            <a:t>0.05, 0.1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209481457"/>
                      </a:ext>
                    </a:extLst>
                  </a:tr>
                  <a:tr h="226075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Reduced frequency (</a:t>
                          </a:r>
                          <a14:m>
                            <m:oMath xmlns:m="http://schemas.openxmlformats.org/officeDocument/2006/math"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𝑘</m:t>
                              </m:r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, −</m:t>
                              </m:r>
                            </m:oMath>
                          </a14:m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Arial" panose="020B0604020202020204" pitchFamily="34" charset="0"/>
                            </a:rPr>
                            <a:t>0.101, …., 1.005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369563425"/>
                      </a:ext>
                    </a:extLst>
                  </a:tr>
                  <a:tr h="226075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Propeller pitch amplitude (</a:t>
                          </a: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  <m:t>𝛼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en-GB" sz="1200" i="1" smtClean="0">
                                          <a:effectLst/>
                                          <a:latin typeface="Cambria Math" panose="02040503050406030204" pitchFamily="18" charset="0"/>
                                          <a:cs typeface="Arial" panose="020B0604020202020204" pitchFamily="34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1200" b="0" i="1" smtClean="0">
                                          <a:effectLst/>
                                          <a:latin typeface="Cambria Math" panose="02040503050406030204" pitchFamily="18" charset="0"/>
                                          <a:cs typeface="Arial" panose="020B0604020202020204" pitchFamily="34" charset="0"/>
                                        </a:rPr>
                                        <m:t>𝑃</m:t>
                                      </m:r>
                                    </m:e>
                                    <m:sub>
                                      <m:r>
                                        <a:rPr lang="en-US" sz="1200" b="0" i="1" smtClean="0">
                                          <a:effectLst/>
                                          <a:latin typeface="Cambria Math" panose="02040503050406030204" pitchFamily="18" charset="0"/>
                                          <a:cs typeface="Arial" panose="020B0604020202020204" pitchFamily="34" charset="0"/>
                                        </a:rPr>
                                        <m:t>𝑀𝑎𝑥</m:t>
                                      </m:r>
                                    </m:sub>
                                  </m:sSub>
                                </m:sub>
                              </m:sSub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, </m:t>
                              </m:r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𝑑𝑒𝑔</m:t>
                              </m:r>
                            </m:oMath>
                          </a14:m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, 1, 2, 4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432916592"/>
                      </a:ext>
                    </a:extLst>
                  </a:tr>
                  <a:tr h="226075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Propeller phase offset (</a:t>
                          </a: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GB" sz="1200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  <m:t>φ</m:t>
                                  </m:r>
                                </m:e>
                                <m:sub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  <m:t>𝑃</m:t>
                                  </m:r>
                                </m:sub>
                              </m:sSub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, </m:t>
                              </m:r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𝑑𝑒𝑔</m:t>
                              </m:r>
                            </m:oMath>
                          </a14:m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-180, -150, …., 150, 180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97781541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8" name="Table 7">
                <a:extLst>
                  <a:ext uri="{FF2B5EF4-FFF2-40B4-BE49-F238E27FC236}">
                    <a16:creationId xmlns:a16="http://schemas.microsoft.com/office/drawing/2014/main" id="{CFEA7E32-5540-926A-E681-ADDA9BC3778E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944337164"/>
                  </p:ext>
                </p:extLst>
              </p:nvPr>
            </p:nvGraphicFramePr>
            <p:xfrm>
              <a:off x="218528" y="2411648"/>
              <a:ext cx="4734338" cy="1378265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934138">
                      <a:extLst>
                        <a:ext uri="{9D8B030D-6E8A-4147-A177-3AD203B41FA5}">
                          <a16:colId xmlns:a16="http://schemas.microsoft.com/office/drawing/2014/main" val="4238621393"/>
                        </a:ext>
                      </a:extLst>
                    </a:gridCol>
                    <a:gridCol w="1800200">
                      <a:extLst>
                        <a:ext uri="{9D8B030D-6E8A-4147-A177-3AD203B41FA5}">
                          <a16:colId xmlns:a16="http://schemas.microsoft.com/office/drawing/2014/main" val="2029339879"/>
                        </a:ext>
                      </a:extLst>
                    </a:gridCol>
                  </a:tblGrid>
                  <a:tr h="226075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b="1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Parameter (Varying)</a:t>
                          </a:r>
                          <a:endParaRPr lang="en-DE" sz="1200" b="1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b="1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Range</a:t>
                          </a:r>
                          <a:endParaRPr lang="en-DE" sz="1200" b="1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018589997"/>
                      </a:ext>
                    </a:extLst>
                  </a:tr>
                  <a:tr h="236983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8"/>
                          <a:stretch>
                            <a:fillRect l="-207" t="-105128" r="-62241" b="-41538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Arial" panose="020B0604020202020204" pitchFamily="34" charset="0"/>
                            </a:rPr>
                            <a:t>2, 4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866479078"/>
                      </a:ext>
                    </a:extLst>
                  </a:tr>
                  <a:tr h="226075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8"/>
                          <a:stretch>
                            <a:fillRect l="-207" t="-210526" r="-62241" b="-32631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Arial" panose="020B0604020202020204" pitchFamily="34" charset="0"/>
                            </a:rPr>
                            <a:t>0.05, 0.1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209481457"/>
                      </a:ext>
                    </a:extLst>
                  </a:tr>
                  <a:tr h="226075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8"/>
                          <a:stretch>
                            <a:fillRect l="-207" t="-318919" r="-62241" b="-23513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Arial" panose="020B0604020202020204" pitchFamily="34" charset="0"/>
                            </a:rPr>
                            <a:t>0.101, …., 1.005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369563425"/>
                      </a:ext>
                    </a:extLst>
                  </a:tr>
                  <a:tr h="236982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8"/>
                          <a:stretch>
                            <a:fillRect l="-207" t="-397436" r="-62241" b="-12307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, 1, 2, 4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432916592"/>
                      </a:ext>
                    </a:extLst>
                  </a:tr>
                  <a:tr h="226075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8"/>
                          <a:stretch>
                            <a:fillRect l="-207" t="-524324" r="-62241" b="-2973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-180, -150, …., 150, 180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97781541"/>
                      </a:ext>
                    </a:extLst>
                  </a:tr>
                </a:tbl>
              </a:graphicData>
            </a:graphic>
          </p:graphicFrame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26FCEC27-32FC-CCF3-2DCC-2BF6662188B8}"/>
                  </a:ext>
                </a:extLst>
              </p:cNvPr>
              <p:cNvSpPr txBox="1"/>
              <p:nvPr/>
            </p:nvSpPr>
            <p:spPr>
              <a:xfrm>
                <a:off x="487758" y="4060158"/>
                <a:ext cx="4002699" cy="30187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DE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𝑃</m:t>
                          </m:r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→</m:t>
                          </m:r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𝑊</m:t>
                          </m:r>
                        </m:sub>
                      </m:sSub>
                      <m:d>
                        <m:dPr>
                          <m:ctrlPr>
                            <a:rPr lang="en-DE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GB" i="1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DE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sSub>
                            <m:sSubPr>
                              <m:ctrlPr>
                                <a:rPr lang="en-DE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GB" i="1"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  <m:r>
                                <a:rPr lang="en-GB" i="1">
                                  <a:latin typeface="Cambria Math" panose="02040503050406030204" pitchFamily="18" charset="0"/>
                                </a:rPr>
                                <m:t>→</m:t>
                              </m:r>
                              <m:r>
                                <a:rPr lang="en-GB" i="1">
                                  <a:latin typeface="Cambria Math" panose="02040503050406030204" pitchFamily="18" charset="0"/>
                                </a:rPr>
                                <m:t>𝑊</m:t>
                              </m:r>
                            </m:e>
                            <m:sub>
                              <m:r>
                                <a:rPr lang="en-GB" i="1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sub>
                          </m:sSub>
                        </m:sub>
                      </m:sSub>
                      <m:r>
                        <a:rPr lang="en-GB" i="1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DE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sSub>
                            <m:sSubPr>
                              <m:ctrlPr>
                                <a:rPr lang="en-DE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GB" i="1"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en-GB" i="1">
                                  <a:latin typeface="Cambria Math" panose="02040503050406030204" pitchFamily="18" charset="0"/>
                                </a:rPr>
                                <m:t>𝑀𝑎𝑥</m:t>
                              </m:r>
                            </m:sub>
                          </m:sSub>
                        </m:sub>
                      </m:sSub>
                      <m:func>
                        <m:funcPr>
                          <m:ctrlPr>
                            <a:rPr lang="en-DE" i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GB">
                              <a:latin typeface="Cambria Math" panose="02040503050406030204" pitchFamily="18" charset="0"/>
                            </a:rPr>
                            <m:t>sin</m:t>
                          </m:r>
                        </m:fName>
                        <m:e>
                          <m:d>
                            <m:dPr>
                              <m:ctrlPr>
                                <a:rPr lang="en-DE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GB" i="1">
                                  <a:latin typeface="Cambria Math" panose="02040503050406030204" pitchFamily="18" charset="0"/>
                                </a:rPr>
                                <m:t>𝜔</m:t>
                              </m:r>
                              <m:r>
                                <a:rPr lang="en-GB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en-GB" i="1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sSub>
                                <m:sSubPr>
                                  <m:ctrlPr>
                                    <a:rPr lang="en-DE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GB" i="1">
                                      <a:latin typeface="Cambria Math" panose="02040503050406030204" pitchFamily="18" charset="0"/>
                                    </a:rPr>
                                    <m:t>𝜑</m:t>
                                  </m:r>
                                </m:e>
                                <m:sub>
                                  <m:r>
                                    <a:rPr lang="en-GB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sub>
                              </m:sSub>
                            </m:e>
                          </m:d>
                        </m:e>
                      </m:func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26FCEC27-32FC-CCF3-2DCC-2BF6662188B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7758" y="4060158"/>
                <a:ext cx="4002699" cy="301878"/>
              </a:xfrm>
              <a:prstGeom prst="rect">
                <a:avLst/>
              </a:prstGeom>
              <a:blipFill>
                <a:blip r:embed="rId9"/>
                <a:stretch>
                  <a:fillRect l="-304" b="-1600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Picture 4" descr="A diagram of a plane&#10;&#10;Description automatically generated with medium confidence">
            <a:extLst>
              <a:ext uri="{FF2B5EF4-FFF2-40B4-BE49-F238E27FC236}">
                <a16:creationId xmlns:a16="http://schemas.microsoft.com/office/drawing/2014/main" id="{2894849B-1E32-E7F9-FCC1-41B677F2CFC5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25418" t="25576" r="26648" b="24454"/>
          <a:stretch/>
        </p:blipFill>
        <p:spPr bwMode="auto">
          <a:xfrm>
            <a:off x="5018363" y="4000790"/>
            <a:ext cx="2290326" cy="140483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0" name="Picture 9" descr="A diagram of a plane&#10;&#10;Description automatically generated">
            <a:extLst>
              <a:ext uri="{FF2B5EF4-FFF2-40B4-BE49-F238E27FC236}">
                <a16:creationId xmlns:a16="http://schemas.microsoft.com/office/drawing/2014/main" id="{41BB9D17-40C6-5977-AB21-DC5675A65CED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24771" t="21268" r="23792" b="28731"/>
          <a:stretch/>
        </p:blipFill>
        <p:spPr bwMode="auto">
          <a:xfrm>
            <a:off x="7308689" y="3994836"/>
            <a:ext cx="2457041" cy="140483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1" name="Arrow: Right 10">
            <a:extLst>
              <a:ext uri="{FF2B5EF4-FFF2-40B4-BE49-F238E27FC236}">
                <a16:creationId xmlns:a16="http://schemas.microsoft.com/office/drawing/2014/main" id="{90B0FB70-3A59-7EF3-69D3-E6CE5F2233C3}"/>
              </a:ext>
            </a:extLst>
          </p:cNvPr>
          <p:cNvSpPr/>
          <p:nvPr/>
        </p:nvSpPr>
        <p:spPr>
          <a:xfrm>
            <a:off x="4563786" y="4060158"/>
            <a:ext cx="438276" cy="301878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2E0F502D-1B78-2FA3-79F7-F4DBD93F6F40}"/>
                  </a:ext>
                </a:extLst>
              </p:cNvPr>
              <p:cNvSpPr txBox="1"/>
              <p:nvPr/>
            </p:nvSpPr>
            <p:spPr>
              <a:xfrm>
                <a:off x="487758" y="4747091"/>
                <a:ext cx="4269759" cy="47557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𝐴𝑚𝑝𝑙𝑖𝑡𝑢𝑑𝑒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𝑟𝑎𝑡𝑖𝑜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i="1">
                                <a:latin typeface="Cambria Math" panose="02040503050406030204" pitchFamily="18" charset="0"/>
                              </a:rPr>
                              <m:t>𝛼</m:t>
                            </m:r>
                          </m:e>
                          <m:sub>
                            <m:sSub>
                              <m:sSubPr>
                                <m:ctrlPr>
                                  <a:rPr lang="en-DE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GB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en-GB" i="1">
                                    <a:latin typeface="Cambria Math" panose="02040503050406030204" pitchFamily="18" charset="0"/>
                                  </a:rPr>
                                  <m:t>𝑀𝑎𝑥</m:t>
                                </m:r>
                              </m:sub>
                            </m:sSub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𝑎𝑚𝑝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𝑀𝑎𝑥</m:t>
                            </m:r>
                          </m:sub>
                        </m:sSub>
                      </m:den>
                    </m:f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i="1">
                                <a:latin typeface="Cambria Math" panose="02040503050406030204" pitchFamily="18" charset="0"/>
                              </a:rPr>
                              <m:t>𝛼</m:t>
                            </m:r>
                          </m:e>
                          <m:sub>
                            <m:sSub>
                              <m:sSubPr>
                                <m:ctrlPr>
                                  <a:rPr lang="en-DE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GB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en-GB" i="1">
                                    <a:latin typeface="Cambria Math" panose="02040503050406030204" pitchFamily="18" charset="0"/>
                                  </a:rPr>
                                  <m:t>𝑀𝑎𝑥</m:t>
                                </m:r>
                              </m:sub>
                            </m:sSub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h</m:t>
                            </m:r>
                          </m:e>
                          <m:sub>
                            <m:sSub>
                              <m:sSubPr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𝑊</m:t>
                                </m:r>
                              </m:e>
                              <m: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𝑀𝑎𝑥</m:t>
                                </m:r>
                              </m:sub>
                            </m:sSub>
                          </m:sub>
                        </m:sSub>
                      </m:den>
                    </m:f>
                  </m:oMath>
                </a14:m>
                <a:r>
                  <a:rPr lang="en-GB" dirty="0"/>
                  <a:t>,</a:t>
                </a:r>
                <a:r>
                  <a:rPr lang="en-US" dirty="0"/>
                  <a:t>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i="1">
                                <a:latin typeface="Cambria Math" panose="02040503050406030204" pitchFamily="18" charset="0"/>
                              </a:rPr>
                              <m:t>𝛼</m:t>
                            </m:r>
                          </m:e>
                          <m:sub>
                            <m:sSub>
                              <m:sSubPr>
                                <m:ctrlPr>
                                  <a:rPr lang="en-DE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GB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en-GB" i="1">
                                    <a:latin typeface="Cambria Math" panose="02040503050406030204" pitchFamily="18" charset="0"/>
                                  </a:rPr>
                                  <m:t>𝑀𝑎𝑥</m:t>
                                </m:r>
                              </m:sub>
                            </m:sSub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en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i="1">
                                <a:latin typeface="Cambria Math" panose="02040503050406030204" pitchFamily="18" charset="0"/>
                              </a:rPr>
                              <m:t>𝛼</m:t>
                            </m:r>
                          </m:e>
                          <m:sub>
                            <m:sSub>
                              <m:sSubPr>
                                <m:ctrlPr>
                                  <a:rPr lang="en-DE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𝑊</m:t>
                                </m:r>
                              </m:e>
                              <m:sub>
                                <m:r>
                                  <a:rPr lang="en-GB" i="1">
                                    <a:latin typeface="Cambria Math" panose="02040503050406030204" pitchFamily="18" charset="0"/>
                                  </a:rPr>
                                  <m:t>𝑀𝑎𝑥</m:t>
                                </m:r>
                              </m:sub>
                            </m:sSub>
                          </m:sub>
                        </m:sSub>
                      </m:den>
                    </m:f>
                  </m:oMath>
                </a14:m>
                <a:endParaRPr lang="en-GB" dirty="0"/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2E0F502D-1B78-2FA3-79F7-F4DBD93F6F4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7758" y="4747091"/>
                <a:ext cx="4269759" cy="475579"/>
              </a:xfrm>
              <a:prstGeom prst="rect">
                <a:avLst/>
              </a:prstGeom>
              <a:blipFill>
                <a:blip r:embed="rId12"/>
                <a:stretch>
                  <a:fillRect l="-2571" t="-3846" r="-143" b="-8974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flex_pitch_lead">
            <a:hlinkClick r:id="" action="ppaction://media"/>
            <a:extLst>
              <a:ext uri="{FF2B5EF4-FFF2-40B4-BE49-F238E27FC236}">
                <a16:creationId xmlns:a16="http://schemas.microsoft.com/office/drawing/2014/main" id="{16E18A78-3679-8A1C-93A7-1F0D41B5E0A4}"/>
              </a:ext>
            </a:extLst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2">
                  <p14:trim end="41"/>
                </p14:media>
              </p:ext>
            </p:extLst>
          </p:nvPr>
        </p:nvPicPr>
        <p:blipFill>
          <a:blip r:embed="rId13">
            <a:lum contrast="20000"/>
          </a:blip>
          <a:stretch>
            <a:fillRect/>
          </a:stretch>
        </p:blipFill>
        <p:spPr>
          <a:xfrm>
            <a:off x="5053279" y="1015061"/>
            <a:ext cx="2198652" cy="1236742"/>
          </a:xfrm>
          <a:prstGeom prst="rect">
            <a:avLst/>
          </a:prstGeom>
        </p:spPr>
      </p:pic>
      <p:pic>
        <p:nvPicPr>
          <p:cNvPr id="9" name="flex_pitch_lag">
            <a:hlinkClick r:id="" action="ppaction://media"/>
            <a:extLst>
              <a:ext uri="{FF2B5EF4-FFF2-40B4-BE49-F238E27FC236}">
                <a16:creationId xmlns:a16="http://schemas.microsoft.com/office/drawing/2014/main" id="{C727A5F3-ADE4-10C5-82BA-A4069C3374AA}"/>
              </a:ext>
            </a:extLst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3">
                  <p14:trim end="41"/>
                </p14:media>
              </p:ext>
            </p:extLst>
          </p:nvPr>
        </p:nvPicPr>
        <p:blipFill>
          <a:blip r:embed="rId14">
            <a:lum contrast="20000"/>
          </a:blip>
          <a:stretch>
            <a:fillRect/>
          </a:stretch>
        </p:blipFill>
        <p:spPr>
          <a:xfrm>
            <a:off x="5054911" y="2475566"/>
            <a:ext cx="2198652" cy="1233650"/>
          </a:xfrm>
          <a:prstGeom prst="rect">
            <a:avLst/>
          </a:prstGeom>
        </p:spPr>
      </p:pic>
      <p:pic>
        <p:nvPicPr>
          <p:cNvPr id="13" name="flex_plunge_lead">
            <a:hlinkClick r:id="" action="ppaction://media"/>
            <a:extLst>
              <a:ext uri="{FF2B5EF4-FFF2-40B4-BE49-F238E27FC236}">
                <a16:creationId xmlns:a16="http://schemas.microsoft.com/office/drawing/2014/main" id="{8809657D-204E-9748-2D0F-E4213929F835}"/>
              </a:ext>
            </a:extLst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4">
                  <p14:trim end="41"/>
                </p14:media>
              </p:ext>
            </p:extLst>
          </p:nvPr>
        </p:nvPicPr>
        <p:blipFill>
          <a:blip r:embed="rId15">
            <a:lum contrast="20000"/>
          </a:blip>
          <a:stretch>
            <a:fillRect/>
          </a:stretch>
        </p:blipFill>
        <p:spPr>
          <a:xfrm>
            <a:off x="7402669" y="1015061"/>
            <a:ext cx="2204161" cy="1236741"/>
          </a:xfrm>
          <a:prstGeom prst="rect">
            <a:avLst/>
          </a:prstGeom>
        </p:spPr>
      </p:pic>
      <p:pic>
        <p:nvPicPr>
          <p:cNvPr id="14" name="flex_plunge_lag">
            <a:hlinkClick r:id="" action="ppaction://media"/>
            <a:extLst>
              <a:ext uri="{FF2B5EF4-FFF2-40B4-BE49-F238E27FC236}">
                <a16:creationId xmlns:a16="http://schemas.microsoft.com/office/drawing/2014/main" id="{77881BA4-51CC-6A0B-73C6-2322C6D121F1}"/>
              </a:ext>
            </a:extLst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5">
                  <p14:trim end="41"/>
                </p14:media>
              </p:ext>
            </p:extLst>
          </p:nvPr>
        </p:nvPicPr>
        <p:blipFill>
          <a:blip r:embed="rId16">
            <a:lum contrast="20000"/>
          </a:blip>
          <a:stretch>
            <a:fillRect/>
          </a:stretch>
        </p:blipFill>
        <p:spPr>
          <a:xfrm>
            <a:off x="7402669" y="2470007"/>
            <a:ext cx="2198652" cy="123365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6736B584-A479-60AD-1CF4-9FF85B91806E}"/>
              </a:ext>
            </a:extLst>
          </p:cNvPr>
          <p:cNvSpPr txBox="1"/>
          <p:nvPr/>
        </p:nvSpPr>
        <p:spPr>
          <a:xfrm>
            <a:off x="4915789" y="2245528"/>
            <a:ext cx="24482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algn="ctr">
              <a:buFont typeface="+mj-lt"/>
              <a:buAutoNum type="alphaLcParenR"/>
            </a:pPr>
            <a:r>
              <a:rPr lang="en-US" sz="800" b="1" dirty="0">
                <a:latin typeface="+mn-lt"/>
              </a:rPr>
              <a:t>Pitching motion – Phase Lead</a:t>
            </a:r>
            <a:endParaRPr lang="en-DE" sz="800" b="1" dirty="0">
              <a:latin typeface="+mn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5A60C3C-308C-94D8-EC18-5A401614A8B7}"/>
              </a:ext>
            </a:extLst>
          </p:cNvPr>
          <p:cNvSpPr txBox="1"/>
          <p:nvPr/>
        </p:nvSpPr>
        <p:spPr>
          <a:xfrm>
            <a:off x="4917421" y="3701468"/>
            <a:ext cx="24482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algn="ctr">
              <a:buFont typeface="+mj-lt"/>
              <a:buAutoNum type="alphaLcParenR" startAt="3"/>
            </a:pPr>
            <a:r>
              <a:rPr lang="en-US" sz="800" b="1" dirty="0">
                <a:latin typeface="+mn-lt"/>
              </a:rPr>
              <a:t>Pitching motion – Phase Lag</a:t>
            </a:r>
            <a:endParaRPr lang="en-DE" sz="800" b="1" dirty="0">
              <a:latin typeface="+mn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FB6ADBF-C431-522B-1530-69E68705186C}"/>
              </a:ext>
            </a:extLst>
          </p:cNvPr>
          <p:cNvSpPr txBox="1"/>
          <p:nvPr/>
        </p:nvSpPr>
        <p:spPr>
          <a:xfrm>
            <a:off x="7283621" y="2249901"/>
            <a:ext cx="24482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algn="ctr">
              <a:buFont typeface="+mj-lt"/>
              <a:buAutoNum type="alphaLcParenR" startAt="2"/>
            </a:pPr>
            <a:r>
              <a:rPr lang="en-US" sz="800" b="1" dirty="0">
                <a:latin typeface="+mn-lt"/>
              </a:rPr>
              <a:t>Plunging motion – Phase Lead</a:t>
            </a:r>
            <a:endParaRPr lang="en-DE" sz="800" b="1" dirty="0">
              <a:latin typeface="+mn-lt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AB7CCD8-0E7F-0EDE-46DB-091B23D00299}"/>
              </a:ext>
            </a:extLst>
          </p:cNvPr>
          <p:cNvSpPr txBox="1"/>
          <p:nvPr/>
        </p:nvSpPr>
        <p:spPr>
          <a:xfrm>
            <a:off x="7203487" y="3703657"/>
            <a:ext cx="24482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algn="ctr">
              <a:buFont typeface="+mj-lt"/>
              <a:buAutoNum type="alphaLcParenR" startAt="4"/>
            </a:pPr>
            <a:r>
              <a:rPr lang="en-US" sz="800" b="1" dirty="0">
                <a:latin typeface="+mn-lt"/>
              </a:rPr>
              <a:t>Plunging motion – Phase Lag</a:t>
            </a:r>
            <a:endParaRPr lang="en-DE" sz="8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279046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24" dur="4976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2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26" dur="4976" fill="hold"/>
                                        <p:tgtEl>
                                          <p:spTgt spid="1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38" dur="4976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39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40" dur="4976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45" repeatCount="indefinite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video>
              <p:cMediaNode vol="80000">
                <p:cTn id="46" repeatCount="indefinite" fill="remove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video>
              <p:cMediaNode vol="80000">
                <p:cTn id="47" repeatCount="indefinite" fill="remove" display="0">
                  <p:stCondLst>
                    <p:cond delay="indefinite"/>
                  </p:stCondLst>
                </p:cTn>
                <p:tgtEl>
                  <p:spTgt spid="13"/>
                </p:tgtEl>
              </p:cMediaNode>
            </p:video>
            <p:video>
              <p:cMediaNode vol="80000">
                <p:cTn id="48" repeatCount="indefinite" fill="remove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</p:childTnLst>
        </p:cTn>
      </p:par>
    </p:tnLst>
    <p:bldLst>
      <p:bldP spid="3" grpId="0"/>
      <p:bldP spid="11" grpId="0" animBg="1"/>
      <p:bldP spid="12" grpId="0"/>
      <p:bldP spid="15" grpId="0"/>
      <p:bldP spid="16" grpId="0"/>
      <p:bldP spid="17" grpId="0"/>
      <p:bldP spid="18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38ED40-9917-A294-BEA6-82CFEB6E35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erodynamic Investigation: Simple Motions</a:t>
            </a:r>
            <a:endParaRPr lang="en-D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94EA77-4737-FD1E-A05D-4B2E2F5578A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Flexibly Attached Propeller</a:t>
            </a:r>
            <a:endParaRPr lang="en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Content Placeholder 2">
                <a:extLst>
                  <a:ext uri="{FF2B5EF4-FFF2-40B4-BE49-F238E27FC236}">
                    <a16:creationId xmlns:a16="http://schemas.microsoft.com/office/drawing/2014/main" id="{2D8B4533-EFCF-B987-1E09-BE27CF4D839D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360680" y="4312363"/>
                <a:ext cx="9073008" cy="130665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>
                <a:lvl1pPr marL="0" indent="0" algn="l" rtl="0" eaLnBrk="0" fontAlgn="base" hangingPunct="0">
                  <a:spcBef>
                    <a:spcPts val="0"/>
                  </a:spcBef>
                  <a:spcAft>
                    <a:spcPts val="0"/>
                  </a:spcAft>
                  <a:buFontTx/>
                  <a:buNone/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1pPr>
                <a:lvl2pPr marL="0" indent="0" algn="l" rtl="0" eaLnBrk="0" fontAlgn="base" hangingPunct="0">
                  <a:spcBef>
                    <a:spcPts val="2000"/>
                  </a:spcBef>
                  <a:spcAft>
                    <a:spcPct val="0"/>
                  </a:spcAft>
                  <a:buNone/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2pPr>
                <a:lvl3pPr marL="723900" indent="-3683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Verdana" pitchFamily="34" charset="0"/>
                  <a:buChar char="&gt;"/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3pPr>
                <a:lvl4pPr marL="0" indent="0" algn="l" rtl="0" eaLnBrk="0" fontAlgn="base" hangingPunct="0">
                  <a:spcBef>
                    <a:spcPts val="1600"/>
                  </a:spcBef>
                  <a:spcAft>
                    <a:spcPct val="0"/>
                  </a:spcAft>
                  <a:buFontTx/>
                  <a:buNone/>
                  <a:defRPr sz="11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4pPr>
                <a:lvl5pPr marL="723900" indent="-3683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Verdana" pitchFamily="34" charset="0"/>
                  <a:buChar char="&gt;"/>
                  <a:defRPr sz="11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r>
                  <a:rPr lang="en-US" sz="1200" dirty="0"/>
                  <a:t>Contours were circular (moment transfer function contours were elliptical due to deviations in FFT calculations).</a:t>
                </a:r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r>
                  <a:rPr lang="en-US" sz="1200" dirty="0"/>
                  <a:t>The contours were also </a:t>
                </a:r>
                <a:r>
                  <a:rPr lang="en-US" sz="1200" b="1" dirty="0"/>
                  <a:t>concentric</a:t>
                </a:r>
                <a:r>
                  <a:rPr lang="en-US" sz="1200" dirty="0"/>
                  <a:t> and </a:t>
                </a:r>
                <a:r>
                  <a:rPr lang="en-US" sz="1200" b="1" dirty="0"/>
                  <a:t>scale proportionally</a:t>
                </a:r>
                <a:r>
                  <a:rPr lang="en-US" sz="1200" dirty="0"/>
                  <a:t> w.r.t the amplitude ratio.</a:t>
                </a:r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r>
                  <a:rPr lang="en-US" sz="1200" dirty="0"/>
                  <a:t>For a fixed </a:t>
                </a:r>
                <a14:m>
                  <m:oMath xmlns:m="http://schemas.openxmlformats.org/officeDocument/2006/math">
                    <m:r>
                      <a:rPr lang="en-US" sz="1200" i="1" dirty="0" smtClean="0">
                        <a:latin typeface="Cambria Math" panose="02040503050406030204" pitchFamily="18" charset="0"/>
                      </a:rPr>
                      <m:t>𝑘</m:t>
                    </m:r>
                  </m:oMath>
                </a14:m>
                <a:r>
                  <a:rPr lang="en-US" sz="1200" dirty="0"/>
                  <a:t>, the contours did not change in shape or orientation and nearly overlapped.</a:t>
                </a:r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r>
                  <a:rPr lang="en-US" sz="1200" dirty="0"/>
                  <a:t>For a fixe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DE" sz="12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GB" sz="1200" i="1">
                            <a:latin typeface="Cambria Math" panose="02040503050406030204" pitchFamily="18" charset="0"/>
                            <a:ea typeface="Arial" panose="020B0604020202020204" pitchFamily="34" charset="0"/>
                            <a:cs typeface="Arial" panose="020B0604020202020204" pitchFamily="34" charset="0"/>
                          </a:rPr>
                          <m:t>𝑎𝑚𝑝</m:t>
                        </m:r>
                      </m:e>
                      <m:sub>
                        <m:r>
                          <a:rPr lang="en-US" sz="1200" i="1">
                            <a:latin typeface="Cambria Math" panose="02040503050406030204" pitchFamily="18" charset="0"/>
                            <a:ea typeface="Arial" panose="020B0604020202020204" pitchFamily="34" charset="0"/>
                            <a:cs typeface="Arial" panose="020B0604020202020204" pitchFamily="34" charset="0"/>
                          </a:rPr>
                          <m:t>𝑀𝑎𝑥</m:t>
                        </m:r>
                      </m:sub>
                    </m:sSub>
                  </m:oMath>
                </a14:m>
                <a:r>
                  <a:rPr lang="en-US" sz="1200" dirty="0"/>
                  <a:t>, contours became slightly larger, and orientations varied slightly (clockwise rotation).</a:t>
                </a:r>
              </a:p>
              <a:p>
                <a:pPr>
                  <a:lnSpc>
                    <a:spcPct val="125000"/>
                  </a:lnSpc>
                </a:pPr>
                <a:endParaRPr lang="en-DE" sz="1500" dirty="0"/>
              </a:p>
            </p:txBody>
          </p:sp>
        </mc:Choice>
        <mc:Fallback xmlns="">
          <p:sp>
            <p:nvSpPr>
              <p:cNvPr id="16" name="Content Placeholder 2">
                <a:extLst>
                  <a:ext uri="{FF2B5EF4-FFF2-40B4-BE49-F238E27FC236}">
                    <a16:creationId xmlns:a16="http://schemas.microsoft.com/office/drawing/2014/main" id="{2D8B4533-EFCF-B987-1E09-BE27CF4D839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60680" y="4312363"/>
                <a:ext cx="9073008" cy="1306653"/>
              </a:xfrm>
              <a:prstGeom prst="rect">
                <a:avLst/>
              </a:prstGeom>
              <a:blipFill>
                <a:blip r:embed="rId2"/>
                <a:stretch>
                  <a:fillRect l="-940" t="-2326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Box 6">
            <a:extLst>
              <a:ext uri="{FF2B5EF4-FFF2-40B4-BE49-F238E27FC236}">
                <a16:creationId xmlns:a16="http://schemas.microsoft.com/office/drawing/2014/main" id="{3379DEE7-FB57-C60C-A33B-27D15882E962}"/>
              </a:ext>
            </a:extLst>
          </p:cNvPr>
          <p:cNvSpPr txBox="1"/>
          <p:nvPr/>
        </p:nvSpPr>
        <p:spPr>
          <a:xfrm>
            <a:off x="527167" y="3649588"/>
            <a:ext cx="42274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algn="ctr">
              <a:buFont typeface="+mj-lt"/>
              <a:buAutoNum type="alphaLcParenR"/>
            </a:pPr>
            <a:r>
              <a:rPr lang="en-GB" sz="800" b="1" dirty="0">
                <a:latin typeface="+mn-lt"/>
              </a:rPr>
              <a:t>Pitching Wing – Lift (left) and Moment (right) transfer functions:</a:t>
            </a:r>
          </a:p>
          <a:p>
            <a:pPr algn="ctr"/>
            <a:r>
              <a:rPr lang="en-GB" sz="800" b="1" dirty="0">
                <a:latin typeface="+mn-lt"/>
              </a:rPr>
              <a:t>Complex plane representation</a:t>
            </a:r>
            <a:r>
              <a:rPr lang="en-US" sz="800" b="1" dirty="0">
                <a:latin typeface="+mn-lt"/>
              </a:rPr>
              <a:t> (Flexible vs Rigid)</a:t>
            </a:r>
            <a:endParaRPr lang="en-GB" sz="800" b="1" dirty="0">
              <a:latin typeface="+mn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B6D0ABC-8DF9-F368-9A21-506E62BC29C1}"/>
              </a:ext>
            </a:extLst>
          </p:cNvPr>
          <p:cNvSpPr txBox="1"/>
          <p:nvPr/>
        </p:nvSpPr>
        <p:spPr>
          <a:xfrm>
            <a:off x="5353699" y="3649588"/>
            <a:ext cx="42274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algn="ctr">
              <a:buFont typeface="+mj-lt"/>
              <a:buAutoNum type="alphaLcParenR" startAt="2"/>
            </a:pPr>
            <a:r>
              <a:rPr lang="en-GB" sz="800" b="1" dirty="0">
                <a:latin typeface="+mn-lt"/>
              </a:rPr>
              <a:t>Plunging Wing – Lift (left) and Moment (right) transfer functions:</a:t>
            </a:r>
          </a:p>
          <a:p>
            <a:pPr algn="ctr"/>
            <a:r>
              <a:rPr lang="en-GB" sz="800" b="1" dirty="0">
                <a:latin typeface="+mn-lt"/>
              </a:rPr>
              <a:t>Complex plane representation</a:t>
            </a:r>
            <a:r>
              <a:rPr lang="en-US" sz="800" b="1" dirty="0">
                <a:latin typeface="+mn-lt"/>
              </a:rPr>
              <a:t> (Flexible vs Rigid)</a:t>
            </a:r>
            <a:endParaRPr lang="en-GB" sz="800" b="1" dirty="0">
              <a:latin typeface="+mn-l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61FB7CA-B284-B808-48ED-EF951347066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3972" b="10557"/>
          <a:stretch/>
        </p:blipFill>
        <p:spPr>
          <a:xfrm>
            <a:off x="232165" y="1057832"/>
            <a:ext cx="4573086" cy="259175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5A46638-F6D6-FC88-B47E-DC2D5A5E3FE2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r="2137" b="9740"/>
          <a:stretch/>
        </p:blipFill>
        <p:spPr>
          <a:xfrm>
            <a:off x="4935985" y="1074276"/>
            <a:ext cx="4684044" cy="2575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12217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38ED40-9917-A294-BEA6-82CFEB6E35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erodynamic Investigation: Simple Motions</a:t>
            </a:r>
            <a:endParaRPr lang="en-D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94EA77-4737-FD1E-A05D-4B2E2F5578A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Flexibly Attached Propeller</a:t>
            </a:r>
            <a:endParaRPr lang="en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Content Placeholder 2">
                <a:extLst>
                  <a:ext uri="{FF2B5EF4-FFF2-40B4-BE49-F238E27FC236}">
                    <a16:creationId xmlns:a16="http://schemas.microsoft.com/office/drawing/2014/main" id="{2D8B4533-EFCF-B987-1E09-BE27CF4D839D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478163" y="4172029"/>
                <a:ext cx="9073008" cy="16561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>
                <a:lvl1pPr marL="0" indent="0" algn="l" rtl="0" eaLnBrk="0" fontAlgn="base" hangingPunct="0">
                  <a:spcBef>
                    <a:spcPts val="0"/>
                  </a:spcBef>
                  <a:spcAft>
                    <a:spcPts val="0"/>
                  </a:spcAft>
                  <a:buFontTx/>
                  <a:buNone/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1pPr>
                <a:lvl2pPr marL="0" indent="0" algn="l" rtl="0" eaLnBrk="0" fontAlgn="base" hangingPunct="0">
                  <a:spcBef>
                    <a:spcPts val="2000"/>
                  </a:spcBef>
                  <a:spcAft>
                    <a:spcPct val="0"/>
                  </a:spcAft>
                  <a:buNone/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2pPr>
                <a:lvl3pPr marL="723900" indent="-3683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Verdana" pitchFamily="34" charset="0"/>
                  <a:buChar char="&gt;"/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3pPr>
                <a:lvl4pPr marL="0" indent="0" algn="l" rtl="0" eaLnBrk="0" fontAlgn="base" hangingPunct="0">
                  <a:spcBef>
                    <a:spcPts val="1600"/>
                  </a:spcBef>
                  <a:spcAft>
                    <a:spcPct val="0"/>
                  </a:spcAft>
                  <a:buFontTx/>
                  <a:buNone/>
                  <a:defRPr sz="11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4pPr>
                <a:lvl5pPr marL="723900" indent="-3683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Verdana" pitchFamily="34" charset="0"/>
                  <a:buChar char="&gt;"/>
                  <a:defRPr sz="11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r>
                  <a:rPr lang="en-US" sz="1200" dirty="0"/>
                  <a:t>The magnitude of the variations in the aerodynamic response are </a:t>
                </a:r>
                <a:r>
                  <a:rPr lang="en-US" sz="1200" b="1" dirty="0"/>
                  <a:t>independent</a:t>
                </a:r>
                <a:r>
                  <a:rPr lang="en-US" sz="1200" dirty="0"/>
                  <a:t> o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DE" sz="1200" i="1">
                            <a:latin typeface="Cambria Math" panose="02040503050406030204" pitchFamily="18" charset="0"/>
                            <a:ea typeface="Arial" panose="020B0604020202020204" pitchFamily="34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GB" sz="1200">
                            <a:latin typeface="Cambria Math" panose="02040503050406030204" pitchFamily="18" charset="0"/>
                            <a:ea typeface="Arial" panose="020B0604020202020204" pitchFamily="34" charset="0"/>
                            <a:cs typeface="Arial" panose="020B0604020202020204" pitchFamily="34" charset="0"/>
                          </a:rPr>
                          <m:t>φ</m:t>
                        </m:r>
                      </m:e>
                      <m:sub>
                        <m:r>
                          <a:rPr lang="en-US" sz="1200" i="1">
                            <a:latin typeface="Cambria Math" panose="02040503050406030204" pitchFamily="18" charset="0"/>
                            <a:ea typeface="Arial" panose="020B0604020202020204" pitchFamily="34" charset="0"/>
                            <a:cs typeface="Arial" panose="020B0604020202020204" pitchFamily="34" charset="0"/>
                          </a:rPr>
                          <m:t>𝑃</m:t>
                        </m:r>
                      </m:sub>
                    </m:sSub>
                  </m:oMath>
                </a14:m>
                <a:r>
                  <a:rPr lang="en-US" sz="1200" dirty="0"/>
                  <a:t>.</a:t>
                </a:r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r>
                  <a:rPr lang="en-US" sz="1200" dirty="0"/>
                  <a:t>The variation in the aerodynamic forces (damping, stiffness) is </a:t>
                </a:r>
                <a:r>
                  <a:rPr lang="en-US" sz="1200" b="1" dirty="0"/>
                  <a:t>linear</a:t>
                </a:r>
                <a:r>
                  <a:rPr lang="en-US" sz="1200" dirty="0"/>
                  <a:t> w.r.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DE" sz="1200" i="1">
                            <a:latin typeface="Cambria Math" panose="02040503050406030204" pitchFamily="18" charset="0"/>
                            <a:ea typeface="Arial" panose="020B0604020202020204" pitchFamily="34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GB" sz="1200">
                            <a:latin typeface="Cambria Math" panose="02040503050406030204" pitchFamily="18" charset="0"/>
                            <a:ea typeface="Arial" panose="020B0604020202020204" pitchFamily="34" charset="0"/>
                            <a:cs typeface="Arial" panose="020B0604020202020204" pitchFamily="34" charset="0"/>
                          </a:rPr>
                          <m:t>φ</m:t>
                        </m:r>
                      </m:e>
                      <m:sub>
                        <m:r>
                          <a:rPr lang="en-US" sz="1200" i="1">
                            <a:latin typeface="Cambria Math" panose="02040503050406030204" pitchFamily="18" charset="0"/>
                            <a:ea typeface="Arial" panose="020B0604020202020204" pitchFamily="34" charset="0"/>
                            <a:cs typeface="Arial" panose="020B0604020202020204" pitchFamily="34" charset="0"/>
                          </a:rPr>
                          <m:t>𝑃</m:t>
                        </m:r>
                      </m:sub>
                    </m:sSub>
                  </m:oMath>
                </a14:m>
                <a:r>
                  <a:rPr lang="en-US" sz="1200" dirty="0"/>
                  <a:t>.</a:t>
                </a:r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r>
                  <a:rPr lang="en-US" sz="1200" dirty="0"/>
                  <a:t>As </a:t>
                </a:r>
                <a14:m>
                  <m:oMath xmlns:m="http://schemas.openxmlformats.org/officeDocument/2006/math">
                    <m:r>
                      <a:rPr lang="en-US" sz="1200" i="1" dirty="0" smtClean="0">
                        <a:latin typeface="Cambria Math" panose="02040503050406030204" pitchFamily="18" charset="0"/>
                      </a:rPr>
                      <m:t>𝑘</m:t>
                    </m:r>
                  </m:oMath>
                </a14:m>
                <a:r>
                  <a:rPr lang="en-US" sz="1200" dirty="0"/>
                  <a:t> increases, lines increased in length (can be observed from the increase in bandwidth).</a:t>
                </a:r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r>
                  <a:rPr lang="en-US" sz="1200" dirty="0"/>
                  <a:t>As </a:t>
                </a:r>
                <a14:m>
                  <m:oMath xmlns:m="http://schemas.openxmlformats.org/officeDocument/2006/math">
                    <m:r>
                      <a:rPr lang="en-US" sz="1200" i="1" dirty="0" smtClean="0">
                        <a:latin typeface="Cambria Math" panose="02040503050406030204" pitchFamily="18" charset="0"/>
                      </a:rPr>
                      <m:t>𝑘</m:t>
                    </m:r>
                  </m:oMath>
                </a14:m>
                <a:r>
                  <a:rPr lang="en-US" sz="1200" dirty="0"/>
                  <a:t> increases, the lines (for each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DE" sz="1200" i="1">
                            <a:latin typeface="Cambria Math" panose="02040503050406030204" pitchFamily="18" charset="0"/>
                            <a:ea typeface="Arial" panose="020B0604020202020204" pitchFamily="34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GB" sz="1200">
                            <a:latin typeface="Cambria Math" panose="02040503050406030204" pitchFamily="18" charset="0"/>
                            <a:ea typeface="Arial" panose="020B0604020202020204" pitchFamily="34" charset="0"/>
                            <a:cs typeface="Arial" panose="020B0604020202020204" pitchFamily="34" charset="0"/>
                          </a:rPr>
                          <m:t>φ</m:t>
                        </m:r>
                      </m:e>
                      <m:sub>
                        <m:r>
                          <a:rPr lang="en-US" sz="1200" i="1">
                            <a:latin typeface="Cambria Math" panose="02040503050406030204" pitchFamily="18" charset="0"/>
                            <a:ea typeface="Arial" panose="020B0604020202020204" pitchFamily="34" charset="0"/>
                            <a:cs typeface="Arial" panose="020B0604020202020204" pitchFamily="34" charset="0"/>
                          </a:rPr>
                          <m:t>𝑃</m:t>
                        </m:r>
                      </m:sub>
                    </m:sSub>
                  </m:oMath>
                </a14:m>
                <a:r>
                  <a:rPr lang="en-US" sz="1200" dirty="0"/>
                  <a:t>) rotate clockwise.</a:t>
                </a:r>
                <a:endParaRPr lang="en-DE" sz="1500" dirty="0"/>
              </a:p>
            </p:txBody>
          </p:sp>
        </mc:Choice>
        <mc:Fallback xmlns="">
          <p:sp>
            <p:nvSpPr>
              <p:cNvPr id="16" name="Content Placeholder 2">
                <a:extLst>
                  <a:ext uri="{FF2B5EF4-FFF2-40B4-BE49-F238E27FC236}">
                    <a16:creationId xmlns:a16="http://schemas.microsoft.com/office/drawing/2014/main" id="{2D8B4533-EFCF-B987-1E09-BE27CF4D839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478163" y="4172029"/>
                <a:ext cx="9073008" cy="1656185"/>
              </a:xfrm>
              <a:prstGeom prst="rect">
                <a:avLst/>
              </a:prstGeom>
              <a:blipFill>
                <a:blip r:embed="rId2"/>
                <a:stretch>
                  <a:fillRect l="-940" t="-1838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3379DEE7-FB57-C60C-A33B-27D15882E962}"/>
                  </a:ext>
                </a:extLst>
              </p:cNvPr>
              <p:cNvSpPr txBox="1"/>
              <p:nvPr/>
            </p:nvSpPr>
            <p:spPr>
              <a:xfrm>
                <a:off x="578731" y="3689251"/>
                <a:ext cx="4218769" cy="3495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28600" indent="-228600" algn="ctr">
                  <a:buFont typeface="+mj-lt"/>
                  <a:buAutoNum type="alphaLcParenR"/>
                </a:pPr>
                <a:r>
                  <a:rPr lang="en-GB" sz="800" b="1" dirty="0">
                    <a:latin typeface="+mn-lt"/>
                  </a:rPr>
                  <a:t>Pitching Wing – Lift (left) and Moment (right) transfer functions:</a:t>
                </a:r>
              </a:p>
              <a:p>
                <a:pPr algn="ctr"/>
                <a:r>
                  <a:rPr lang="en-GB" sz="800" b="1" dirty="0">
                    <a:latin typeface="+mn-lt"/>
                  </a:rPr>
                  <a:t>Complex plane representation;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sz="8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800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𝜶</m:t>
                        </m:r>
                      </m:e>
                      <m:sub>
                        <m:sSub>
                          <m:sSubPr>
                            <m:ctrlPr>
                              <a:rPr lang="en-GB" sz="800" b="1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800" b="1" i="1" smtClean="0">
                                <a:latin typeface="Cambria Math" panose="02040503050406030204" pitchFamily="18" charset="0"/>
                              </a:rPr>
                              <m:t>𝑾</m:t>
                            </m:r>
                          </m:e>
                          <m:sub>
                            <m:r>
                              <a:rPr lang="en-US" sz="800" b="1" i="1" smtClean="0">
                                <a:latin typeface="Cambria Math" panose="02040503050406030204" pitchFamily="18" charset="0"/>
                              </a:rPr>
                              <m:t>𝑴𝒂𝒙</m:t>
                            </m:r>
                          </m:sub>
                        </m:sSub>
                      </m:sub>
                    </m:sSub>
                    <m:r>
                      <a:rPr lang="en-US" sz="800" b="1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800" b="1" i="1" smtClean="0">
                        <a:latin typeface="Cambria Math" panose="02040503050406030204" pitchFamily="18" charset="0"/>
                      </a:rPr>
                      <m:t>𝟒</m:t>
                    </m:r>
                    <m:r>
                      <a:rPr lang="en-US" sz="800" b="1" i="1" smtClean="0">
                        <a:latin typeface="Cambria Math" panose="02040503050406030204" pitchFamily="18" charset="0"/>
                      </a:rPr>
                      <m:t>°,</m:t>
                    </m:r>
                    <m:sSub>
                      <m:sSubPr>
                        <m:ctrlPr>
                          <a:rPr lang="en-GB" sz="800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800" b="1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𝜶</m:t>
                        </m:r>
                      </m:e>
                      <m:sub>
                        <m:sSub>
                          <m:sSubPr>
                            <m:ctrlPr>
                              <a:rPr lang="en-GB" sz="800" b="1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800" b="1" i="1" smtClean="0">
                                <a:latin typeface="Cambria Math" panose="02040503050406030204" pitchFamily="18" charset="0"/>
                              </a:rPr>
                              <m:t>𝑷</m:t>
                            </m:r>
                          </m:e>
                          <m:sub>
                            <m:r>
                              <a:rPr lang="en-US" sz="800" b="1" i="1">
                                <a:latin typeface="Cambria Math" panose="02040503050406030204" pitchFamily="18" charset="0"/>
                              </a:rPr>
                              <m:t>𝑴𝒂𝒙</m:t>
                            </m:r>
                          </m:sub>
                        </m:sSub>
                      </m:sub>
                    </m:sSub>
                    <m:r>
                      <a:rPr lang="en-US" sz="800" b="1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800" b="1" i="1">
                        <a:latin typeface="Cambria Math" panose="02040503050406030204" pitchFamily="18" charset="0"/>
                      </a:rPr>
                      <m:t>𝟒</m:t>
                    </m:r>
                  </m:oMath>
                </a14:m>
                <a:r>
                  <a:rPr lang="en-GB" sz="800" b="1" dirty="0">
                    <a:latin typeface="+mn-lt"/>
                  </a:rPr>
                  <a:t>°</a:t>
                </a: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3379DEE7-FB57-C60C-A33B-27D15882E96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8731" y="3689251"/>
                <a:ext cx="4218769" cy="34958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2B6D0ABC-8DF9-F368-9A21-506E62BC29C1}"/>
                  </a:ext>
                </a:extLst>
              </p:cNvPr>
              <p:cNvSpPr txBox="1"/>
              <p:nvPr/>
            </p:nvSpPr>
            <p:spPr>
              <a:xfrm>
                <a:off x="5466835" y="3689251"/>
                <a:ext cx="4218769" cy="3495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28600" indent="-228600" algn="ctr">
                  <a:buFont typeface="+mj-lt"/>
                  <a:buAutoNum type="alphaLcParenR" startAt="2"/>
                </a:pPr>
                <a:r>
                  <a:rPr lang="en-GB" sz="800" b="1" dirty="0">
                    <a:latin typeface="+mn-lt"/>
                  </a:rPr>
                  <a:t>Plunging Wing – Lift (left) and Moment (right) transfer functions:</a:t>
                </a:r>
              </a:p>
              <a:p>
                <a:pPr algn="ctr"/>
                <a:r>
                  <a:rPr lang="en-GB" sz="800" b="1" dirty="0">
                    <a:latin typeface="+mn-lt"/>
                  </a:rPr>
                  <a:t>Complex plane representation; </a:t>
                </a:r>
                <a14:m>
                  <m:oMath xmlns:m="http://schemas.openxmlformats.org/officeDocument/2006/math">
                    <m:r>
                      <a:rPr lang="en-US" sz="800" b="1" i="1" smtClean="0">
                        <a:latin typeface="Cambria Math" panose="02040503050406030204" pitchFamily="18" charset="0"/>
                      </a:rPr>
                      <m:t>𝒉</m:t>
                    </m:r>
                    <m:r>
                      <a:rPr lang="en-US" sz="800" b="1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800" b="1" i="1" smtClean="0">
                        <a:latin typeface="Cambria Math" panose="02040503050406030204" pitchFamily="18" charset="0"/>
                      </a:rPr>
                      <m:t>𝟎</m:t>
                    </m:r>
                    <m:r>
                      <a:rPr lang="en-US" sz="800" b="1" i="1" smtClean="0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800" b="1" i="1" smtClean="0">
                        <a:latin typeface="Cambria Math" panose="02040503050406030204" pitchFamily="18" charset="0"/>
                      </a:rPr>
                      <m:t>𝟎𝟓</m:t>
                    </m:r>
                    <m:r>
                      <a:rPr lang="en-US" sz="800" b="1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GB" sz="800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800" b="1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𝜶</m:t>
                        </m:r>
                      </m:e>
                      <m:sub>
                        <m:sSub>
                          <m:sSubPr>
                            <m:ctrlPr>
                              <a:rPr lang="en-GB" sz="800" b="1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800" b="1" i="1" smtClean="0">
                                <a:latin typeface="Cambria Math" panose="02040503050406030204" pitchFamily="18" charset="0"/>
                              </a:rPr>
                              <m:t>𝑷</m:t>
                            </m:r>
                          </m:e>
                          <m:sub>
                            <m:r>
                              <a:rPr lang="en-US" sz="800" b="1" i="1">
                                <a:latin typeface="Cambria Math" panose="02040503050406030204" pitchFamily="18" charset="0"/>
                              </a:rPr>
                              <m:t>𝑴𝒂𝒙</m:t>
                            </m:r>
                          </m:sub>
                        </m:sSub>
                      </m:sub>
                    </m:sSub>
                    <m:r>
                      <a:rPr lang="en-US" sz="800" b="1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800" b="1" i="1">
                        <a:latin typeface="Cambria Math" panose="02040503050406030204" pitchFamily="18" charset="0"/>
                      </a:rPr>
                      <m:t>𝟒</m:t>
                    </m:r>
                  </m:oMath>
                </a14:m>
                <a:r>
                  <a:rPr lang="en-GB" sz="800" b="1" dirty="0">
                    <a:latin typeface="+mn-lt"/>
                  </a:rPr>
                  <a:t>°</a:t>
                </a:r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2B6D0ABC-8DF9-F368-9A21-506E62BC29C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66835" y="3689251"/>
                <a:ext cx="4218769" cy="349583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8" name="Picture 7">
            <a:extLst>
              <a:ext uri="{FF2B5EF4-FFF2-40B4-BE49-F238E27FC236}">
                <a16:creationId xmlns:a16="http://schemas.microsoft.com/office/drawing/2014/main" id="{6FE9E489-1E61-3AB2-5C5C-244A102018EC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3307" r="4649" b="3307"/>
          <a:stretch/>
        </p:blipFill>
        <p:spPr>
          <a:xfrm>
            <a:off x="183455" y="1013161"/>
            <a:ext cx="4723859" cy="267609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576A20F-2ED0-52A0-0EFA-48EDBD8FAC03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3307" r="5278" b="3307"/>
          <a:stretch/>
        </p:blipFill>
        <p:spPr>
          <a:xfrm>
            <a:off x="4961745" y="1013161"/>
            <a:ext cx="4723859" cy="2676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609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38ED40-9917-A294-BEA6-82CFEB6E35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erodynamic Investigation: Complex Modes</a:t>
            </a:r>
            <a:endParaRPr lang="en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6" name="Content Placeholder 5">
                <a:extLst>
                  <a:ext uri="{FF2B5EF4-FFF2-40B4-BE49-F238E27FC236}">
                    <a16:creationId xmlns:a16="http://schemas.microsoft.com/office/drawing/2014/main" id="{1D062EA0-CDCF-48DC-6C73-3A9678449E30}"/>
                  </a:ext>
                </a:extLst>
              </p:cNvPr>
              <p:cNvGraphicFramePr>
                <a:graphicFrameLocks noGrp="1"/>
              </p:cNvGraphicFramePr>
              <p:nvPr>
                <p:ph idx="1"/>
                <p:extLst>
                  <p:ext uri="{D42A27DB-BD31-4B8C-83A1-F6EECF244321}">
                    <p14:modId xmlns:p14="http://schemas.microsoft.com/office/powerpoint/2010/main" val="3054526528"/>
                  </p:ext>
                </p:extLst>
              </p:nvPr>
            </p:nvGraphicFramePr>
            <p:xfrm>
              <a:off x="345662" y="1201316"/>
              <a:ext cx="4302290" cy="1056912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574098">
                      <a:extLst>
                        <a:ext uri="{9D8B030D-6E8A-4147-A177-3AD203B41FA5}">
                          <a16:colId xmlns:a16="http://schemas.microsoft.com/office/drawing/2014/main" val="3292926077"/>
                        </a:ext>
                      </a:extLst>
                    </a:gridCol>
                    <a:gridCol w="1728192">
                      <a:extLst>
                        <a:ext uri="{9D8B030D-6E8A-4147-A177-3AD203B41FA5}">
                          <a16:colId xmlns:a16="http://schemas.microsoft.com/office/drawing/2014/main" val="4200956874"/>
                        </a:ext>
                      </a:extLst>
                    </a:gridCol>
                  </a:tblGrid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Parameter (Fixed)</a:t>
                          </a:r>
                          <a:endParaRPr lang="en-DE" sz="1200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Value</a:t>
                          </a:r>
                          <a:endParaRPr lang="en-DE" sz="1200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765532567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Advance ratio (</a:t>
                          </a:r>
                          <a14:m>
                            <m:oMath xmlns:m="http://schemas.openxmlformats.org/officeDocument/2006/math"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Times New Roman" panose="02020603050405020304" pitchFamily="18" charset="0"/>
                                </a:rPr>
                                <m:t>𝐽</m:t>
                              </m:r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, −</m:t>
                              </m:r>
                            </m:oMath>
                          </a14:m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1.2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4091580403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Propeller Thrust</a:t>
                          </a:r>
                          <a:r>
                            <a:rPr lang="en-GB" sz="1200" baseline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 Coefficient </a:t>
                          </a: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(</a:t>
                          </a: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200" b="0" i="1" smtClean="0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  <m:t>𝐶</m:t>
                                  </m:r>
                                </m:e>
                                <m:sub>
                                  <m:r>
                                    <a:rPr lang="en-US" sz="1200" b="0" i="1" smtClean="0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  <m:t>𝑇</m:t>
                                  </m:r>
                                </m:sub>
                              </m:sSub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, </m:t>
                              </m:r>
                              <m:r>
                                <a:rPr lang="en-US" sz="1200" b="0" i="1" smtClean="0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−</m:t>
                              </m:r>
                            </m:oMath>
                          </a14:m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1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708555244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Scaling factor (</a:t>
                          </a: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US" sz="1200" i="1" smtClean="0">
                                      <a:effectLst/>
                                      <a:latin typeface="Cambria Math" panose="02040503050406030204" pitchFamily="18" charset="0"/>
                                      <a:cs typeface="Times New Roman" panose="020206030504050203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200" b="0" i="1" smtClean="0">
                                      <a:effectLst/>
                                      <a:latin typeface="Cambria Math" panose="02040503050406030204" pitchFamily="18" charset="0"/>
                                      <a:cs typeface="Times New Roman" panose="02020603050405020304" pitchFamily="18" charset="0"/>
                                    </a:rPr>
                                    <m:t>𝑎𝑚𝑝</m:t>
                                  </m:r>
                                </m:e>
                                <m:sub>
                                  <m:r>
                                    <a:rPr lang="en-US" sz="1200" b="0" i="1" smtClean="0">
                                      <a:effectLst/>
                                      <a:latin typeface="Cambria Math" panose="02040503050406030204" pitchFamily="18" charset="0"/>
                                      <a:cs typeface="Times New Roman" panose="02020603050405020304" pitchFamily="18" charset="0"/>
                                    </a:rPr>
                                    <m:t>𝑀𝑎𝑥</m:t>
                                  </m:r>
                                </m:sub>
                              </m:sSub>
                              <m:r>
                                <a:rPr lang="en-US" sz="1200" b="0" i="1" smtClean="0">
                                  <a:effectLst/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, −</m:t>
                              </m:r>
                            </m:oMath>
                          </a14:m>
                          <a:r>
                            <a:rPr lang="en-US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1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501245082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6" name="Content Placeholder 5">
                <a:extLst>
                  <a:ext uri="{FF2B5EF4-FFF2-40B4-BE49-F238E27FC236}">
                    <a16:creationId xmlns:a16="http://schemas.microsoft.com/office/drawing/2014/main" id="{1D062EA0-CDCF-48DC-6C73-3A9678449E30}"/>
                  </a:ext>
                </a:extLst>
              </p:cNvPr>
              <p:cNvGraphicFramePr>
                <a:graphicFrameLocks noGrp="1"/>
              </p:cNvGraphicFramePr>
              <p:nvPr>
                <p:ph idx="1"/>
                <p:extLst>
                  <p:ext uri="{D42A27DB-BD31-4B8C-83A1-F6EECF244321}">
                    <p14:modId xmlns:p14="http://schemas.microsoft.com/office/powerpoint/2010/main" val="3054526528"/>
                  </p:ext>
                </p:extLst>
              </p:nvPr>
            </p:nvGraphicFramePr>
            <p:xfrm>
              <a:off x="345662" y="1201316"/>
              <a:ext cx="4302290" cy="1056912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574098">
                      <a:extLst>
                        <a:ext uri="{9D8B030D-6E8A-4147-A177-3AD203B41FA5}">
                          <a16:colId xmlns:a16="http://schemas.microsoft.com/office/drawing/2014/main" val="3292926077"/>
                        </a:ext>
                      </a:extLst>
                    </a:gridCol>
                    <a:gridCol w="1728192">
                      <a:extLst>
                        <a:ext uri="{9D8B030D-6E8A-4147-A177-3AD203B41FA5}">
                          <a16:colId xmlns:a16="http://schemas.microsoft.com/office/drawing/2014/main" val="4200956874"/>
                        </a:ext>
                      </a:extLst>
                    </a:gridCol>
                  </a:tblGrid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Parameter (Fixed)</a:t>
                          </a:r>
                          <a:endParaRPr lang="en-DE" sz="1200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Value</a:t>
                          </a:r>
                          <a:endParaRPr lang="en-DE" sz="1200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765532567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9"/>
                          <a:stretch>
                            <a:fillRect l="-236" t="-113953" r="-68085" b="-213953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1.2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4091580403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9"/>
                          <a:stretch>
                            <a:fillRect l="-236" t="-209091" r="-68085" b="-10909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1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708555244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9"/>
                          <a:stretch>
                            <a:fillRect l="-236" t="-316279" r="-68085" b="-1162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1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501245082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94EA77-4737-FD1E-A05D-4B2E2F5578A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Rigidly Attached Propeller</a:t>
            </a:r>
            <a:endParaRPr lang="en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8" name="Table 7">
                <a:extLst>
                  <a:ext uri="{FF2B5EF4-FFF2-40B4-BE49-F238E27FC236}">
                    <a16:creationId xmlns:a16="http://schemas.microsoft.com/office/drawing/2014/main" id="{CFEA7E32-5540-926A-E681-ADDA9BC3778E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262967914"/>
                  </p:ext>
                </p:extLst>
              </p:nvPr>
            </p:nvGraphicFramePr>
            <p:xfrm>
              <a:off x="345662" y="2303857"/>
              <a:ext cx="4302290" cy="90430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574098">
                      <a:extLst>
                        <a:ext uri="{9D8B030D-6E8A-4147-A177-3AD203B41FA5}">
                          <a16:colId xmlns:a16="http://schemas.microsoft.com/office/drawing/2014/main" val="4238621393"/>
                        </a:ext>
                      </a:extLst>
                    </a:gridCol>
                    <a:gridCol w="1728192">
                      <a:extLst>
                        <a:ext uri="{9D8B030D-6E8A-4147-A177-3AD203B41FA5}">
                          <a16:colId xmlns:a16="http://schemas.microsoft.com/office/drawing/2014/main" val="2029339879"/>
                        </a:ext>
                      </a:extLst>
                    </a:gridCol>
                  </a:tblGrid>
                  <a:tr h="226075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b="1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Parameter (Varying)</a:t>
                          </a:r>
                          <a:endParaRPr lang="en-DE" sz="1200" b="1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b="1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Range</a:t>
                          </a:r>
                          <a:endParaRPr lang="en-DE" sz="1200" b="1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018589997"/>
                      </a:ext>
                    </a:extLst>
                  </a:tr>
                  <a:tr h="226075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Wing Mode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1</a:t>
                          </a:r>
                          <a:r>
                            <a:rPr lang="en-GB" sz="1200" baseline="300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st</a:t>
                          </a: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 Bending, 1</a:t>
                          </a:r>
                          <a:r>
                            <a:rPr lang="en-GB" sz="1200" baseline="300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st</a:t>
                          </a: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 Torsion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7387597"/>
                      </a:ext>
                    </a:extLst>
                  </a:tr>
                  <a:tr h="226075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Normalised Y-position </a:t>
                          </a:r>
                          <a:r>
                            <a:rPr lang="en-US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(</a:t>
                          </a:r>
                          <a14:m>
                            <m:oMath xmlns:m="http://schemas.openxmlformats.org/officeDocument/2006/math">
                              <m:f>
                                <m:fPr>
                                  <m:type m:val="lin"/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</m:ctrlPr>
                                </m:fPr>
                                <m:num>
                                  <m:sSub>
                                    <m:sSubPr>
                                      <m:ctrlPr>
                                        <a:rPr lang="en-DE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Times New Roman" panose="020206030504050203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Times New Roman" panose="020206030504050203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Times New Roman" panose="02020603050405020304" pitchFamily="18" charset="0"/>
                                        </a:rPr>
                                        <m:t>𝑃</m:t>
                                      </m:r>
                                    </m:sub>
                                  </m:sSub>
                                </m:num>
                                <m:den>
                                  <m:f>
                                    <m:fPr>
                                      <m:type m:val="lin"/>
                                      <m:ctrlPr>
                                        <a:rPr lang="en-DE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Times New Roman" panose="02020603050405020304" pitchFamily="18" charset="0"/>
                                        </a:rPr>
                                      </m:ctrlPr>
                                    </m:fPr>
                                    <m:num>
                                      <m:sSub>
                                        <m:sSubPr>
                                          <m:ctrlPr>
                                            <a:rPr lang="en-DE" sz="1200" i="1">
                                              <a:effectLst/>
                                              <a:latin typeface="Cambria Math" panose="02040503050406030204" pitchFamily="18" charset="0"/>
                                              <a:ea typeface="Arial" panose="020B0604020202020204" pitchFamily="34" charset="0"/>
                                              <a:cs typeface="Times New Roman" panose="020206030504050203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GB" sz="1200" i="1">
                                              <a:effectLst/>
                                              <a:latin typeface="Cambria Math" panose="02040503050406030204" pitchFamily="18" charset="0"/>
                                              <a:ea typeface="Arial" panose="020B0604020202020204" pitchFamily="34" charset="0"/>
                                              <a:cs typeface="Times New Roman" panose="02020603050405020304" pitchFamily="18" charset="0"/>
                                            </a:rPr>
                                            <m:t>𝑏</m:t>
                                          </m:r>
                                        </m:e>
                                        <m:sub>
                                          <m:r>
                                            <a:rPr lang="en-GB" sz="1200" i="1">
                                              <a:effectLst/>
                                              <a:latin typeface="Cambria Math" panose="02040503050406030204" pitchFamily="18" charset="0"/>
                                              <a:ea typeface="Arial" panose="020B0604020202020204" pitchFamily="34" charset="0"/>
                                              <a:cs typeface="Times New Roman" panose="02020603050405020304" pitchFamily="18" charset="0"/>
                                            </a:rPr>
                                            <m:t>𝑊</m:t>
                                          </m:r>
                                        </m:sub>
                                      </m:sSub>
                                    </m:num>
                                    <m:den>
                                      <m:r>
                                        <a:rPr lang="en-US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Times New Roman" panose="02020603050405020304" pitchFamily="18" charset="0"/>
                                        </a:rPr>
                                        <m:t>2</m:t>
                                      </m:r>
                                    </m:den>
                                  </m:f>
                                </m:den>
                              </m:f>
                              <m:r>
                                <a:rPr lang="en-US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Times New Roman" panose="02020603050405020304" pitchFamily="18" charset="0"/>
                                </a:rPr>
                                <m:t>, −</m:t>
                              </m:r>
                            </m:oMath>
                          </a14:m>
                          <a:r>
                            <a:rPr lang="en-US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b="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5</a:t>
                          </a: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, 0.75, 1.0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209481457"/>
                      </a:ext>
                    </a:extLst>
                  </a:tr>
                  <a:tr h="226075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Reduced frequency (</a:t>
                          </a:r>
                          <a14:m>
                            <m:oMath xmlns:m="http://schemas.openxmlformats.org/officeDocument/2006/math"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𝑘</m:t>
                              </m:r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, −</m:t>
                              </m:r>
                            </m:oMath>
                          </a14:m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Arial" panose="020B0604020202020204" pitchFamily="34" charset="0"/>
                            </a:rPr>
                            <a:t>0.05, …., 1.0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369563425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8" name="Table 7">
                <a:extLst>
                  <a:ext uri="{FF2B5EF4-FFF2-40B4-BE49-F238E27FC236}">
                    <a16:creationId xmlns:a16="http://schemas.microsoft.com/office/drawing/2014/main" id="{CFEA7E32-5540-926A-E681-ADDA9BC3778E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262967914"/>
                  </p:ext>
                </p:extLst>
              </p:nvPr>
            </p:nvGraphicFramePr>
            <p:xfrm>
              <a:off x="345662" y="2303857"/>
              <a:ext cx="4302290" cy="90430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574098">
                      <a:extLst>
                        <a:ext uri="{9D8B030D-6E8A-4147-A177-3AD203B41FA5}">
                          <a16:colId xmlns:a16="http://schemas.microsoft.com/office/drawing/2014/main" val="4238621393"/>
                        </a:ext>
                      </a:extLst>
                    </a:gridCol>
                    <a:gridCol w="1728192">
                      <a:extLst>
                        <a:ext uri="{9D8B030D-6E8A-4147-A177-3AD203B41FA5}">
                          <a16:colId xmlns:a16="http://schemas.microsoft.com/office/drawing/2014/main" val="2029339879"/>
                        </a:ext>
                      </a:extLst>
                    </a:gridCol>
                  </a:tblGrid>
                  <a:tr h="226075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b="1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Parameter (Varying)</a:t>
                          </a:r>
                          <a:endParaRPr lang="en-DE" sz="1200" b="1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b="1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Range</a:t>
                          </a:r>
                          <a:endParaRPr lang="en-DE" sz="1200" b="1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018589997"/>
                      </a:ext>
                    </a:extLst>
                  </a:tr>
                  <a:tr h="226075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Wing Mode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1</a:t>
                          </a:r>
                          <a:r>
                            <a:rPr lang="en-GB" sz="1200" baseline="300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st</a:t>
                          </a: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 Bending, 1</a:t>
                          </a:r>
                          <a:r>
                            <a:rPr lang="en-GB" sz="1200" baseline="300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st</a:t>
                          </a: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 Torsion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7387597"/>
                      </a:ext>
                    </a:extLst>
                  </a:tr>
                  <a:tr h="226075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10"/>
                          <a:stretch>
                            <a:fillRect l="-236" t="-207895" r="-68085" b="-18947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b="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5</a:t>
                          </a: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, 0.75, 1.0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209481457"/>
                      </a:ext>
                    </a:extLst>
                  </a:tr>
                  <a:tr h="226075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10"/>
                          <a:stretch>
                            <a:fillRect l="-236" t="-316216" r="-68085" b="-9459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Arial" panose="020B0604020202020204" pitchFamily="34" charset="0"/>
                            </a:rPr>
                            <a:t>0.05, …., 1.0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369563425"/>
                      </a:ext>
                    </a:extLst>
                  </a:tr>
                </a:tbl>
              </a:graphicData>
            </a:graphic>
          </p:graphicFrame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26FCEC27-32FC-CCF3-2DCC-2BF6662188B8}"/>
                  </a:ext>
                </a:extLst>
              </p:cNvPr>
              <p:cNvSpPr txBox="1"/>
              <p:nvPr/>
            </p:nvSpPr>
            <p:spPr>
              <a:xfrm>
                <a:off x="317500" y="3651938"/>
                <a:ext cx="4276876" cy="2946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𝑎𝑚𝑝</m:t>
                          </m:r>
                        </m:e>
                        <m:sub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𝑀𝑎𝑥</m:t>
                          </m:r>
                        </m:sub>
                      </m:sSub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=0.1:  </m:t>
                      </m:r>
                      <m:sSub>
                        <m:sSub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</m:e>
                        <m:sub>
                          <m:sSub>
                            <m:sSub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𝑊</m:t>
                              </m:r>
                            </m:e>
                            <m:sub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𝑀𝑎𝑥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𝑇𝑖𝑝</m:t>
                              </m:r>
                            </m:sub>
                          </m:sSub>
                        </m:sub>
                      </m:sSub>
                      <m:r>
                        <a:rPr lang="en-US" sz="160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0.1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𝑚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 (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h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=0.0547)</m:t>
                      </m:r>
                    </m:oMath>
                  </m:oMathPara>
                </a14:m>
                <a:endParaRPr lang="en-GB" sz="1600" dirty="0"/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26FCEC27-32FC-CCF3-2DCC-2BF6662188B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7500" y="3651938"/>
                <a:ext cx="4276876" cy="294632"/>
              </a:xfrm>
              <a:prstGeom prst="rect">
                <a:avLst/>
              </a:prstGeom>
              <a:blipFill>
                <a:blip r:embed="rId11"/>
                <a:stretch>
                  <a:fillRect l="-570" r="-1140" b="-20833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0C337AE4-3B27-2002-2A2F-0EBCEEFDB440}"/>
                  </a:ext>
                </a:extLst>
              </p:cNvPr>
              <p:cNvSpPr txBox="1"/>
              <p:nvPr/>
            </p:nvSpPr>
            <p:spPr>
              <a:xfrm>
                <a:off x="183456" y="4297660"/>
                <a:ext cx="4747966" cy="2946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sz="16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𝑎𝑚𝑝</m:t>
                        </m:r>
                      </m:e>
                      <m:sub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𝑀𝑎𝑥</m:t>
                        </m:r>
                      </m:sub>
                    </m:sSub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=0.1:  </m:t>
                    </m:r>
                    <m:sSub>
                      <m:sSubPr>
                        <m:ctrlPr>
                          <a:rPr lang="en-US" sz="16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sSub>
                          <m:sSubPr>
                            <m:ctrlPr>
                              <a:rPr lang="en-US" sz="16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600" b="0" i="1" smtClean="0">
                                <a:latin typeface="Cambria Math" panose="02040503050406030204" pitchFamily="18" charset="0"/>
                              </a:rPr>
                              <m:t>𝑊</m:t>
                            </m:r>
                          </m:e>
                          <m:sub>
                            <m:r>
                              <a:rPr lang="en-US" sz="1600" b="0" i="1" smtClean="0">
                                <a:latin typeface="Cambria Math" panose="02040503050406030204" pitchFamily="18" charset="0"/>
                              </a:rPr>
                              <m:t>𝑀𝑎𝑥</m:t>
                            </m:r>
                            <m:r>
                              <a:rPr lang="en-US" sz="1600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en-US" sz="1600" b="0" i="1" smtClean="0">
                                <a:latin typeface="Cambria Math" panose="02040503050406030204" pitchFamily="18" charset="0"/>
                              </a:rPr>
                              <m:t>𝑇𝑖𝑝</m:t>
                            </m:r>
                          </m:sub>
                        </m:sSub>
                      </m:sub>
                    </m:sSub>
                    <m:r>
                      <a:rPr lang="en-US" sz="160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0.1</m:t>
                    </m:r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𝑟𝑎𝑑</m:t>
                    </m:r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 (</m:t>
                    </m:r>
                    <m:sSub>
                      <m:sSubPr>
                        <m:ctrlPr>
                          <a:rPr lang="en-US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sSub>
                          <m:sSubPr>
                            <m:ctrlPr>
                              <a:rPr lang="en-US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600" i="1">
                                <a:latin typeface="Cambria Math" panose="02040503050406030204" pitchFamily="18" charset="0"/>
                              </a:rPr>
                              <m:t>𝑊</m:t>
                            </m:r>
                          </m:e>
                          <m:sub>
                            <m:r>
                              <a:rPr lang="en-US" sz="1600" i="1">
                                <a:latin typeface="Cambria Math" panose="02040503050406030204" pitchFamily="18" charset="0"/>
                              </a:rPr>
                              <m:t>𝑀𝑎𝑥</m:t>
                            </m:r>
                          </m:sub>
                        </m:sSub>
                      </m:sub>
                    </m:sSub>
                    <m:r>
                      <a:rPr lang="en-US" sz="1600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5.73°)</m:t>
                    </m:r>
                  </m:oMath>
                </a14:m>
                <a:r>
                  <a:rPr lang="en-GB" sz="1600" dirty="0"/>
                  <a:t> </a:t>
                </a: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0C337AE4-3B27-2002-2A2F-0EBCEEFDB44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3456" y="4297660"/>
                <a:ext cx="4747966" cy="294632"/>
              </a:xfrm>
              <a:prstGeom prst="rect">
                <a:avLst/>
              </a:prstGeom>
              <a:blipFill>
                <a:blip r:embed="rId12"/>
                <a:stretch>
                  <a:fillRect l="-1540" b="-1875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mode1_y0_5">
            <a:hlinkClick r:id="" action="ppaction://media"/>
            <a:extLst>
              <a:ext uri="{FF2B5EF4-FFF2-40B4-BE49-F238E27FC236}">
                <a16:creationId xmlns:a16="http://schemas.microsoft.com/office/drawing/2014/main" id="{54AC6D48-3183-335B-ACAD-637506638CA8}"/>
              </a:ext>
            </a:extLst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2">
                  <p14:trim end="41"/>
                </p14:media>
              </p:ext>
            </p:extLst>
          </p:nvPr>
        </p:nvPicPr>
        <p:blipFill>
          <a:blip r:embed="rId13">
            <a:lum contrast="20000"/>
          </a:blip>
          <a:stretch>
            <a:fillRect/>
          </a:stretch>
        </p:blipFill>
        <p:spPr>
          <a:xfrm>
            <a:off x="4863976" y="1018605"/>
            <a:ext cx="2232248" cy="1252501"/>
          </a:xfrm>
          <a:prstGeom prst="rect">
            <a:avLst/>
          </a:prstGeom>
        </p:spPr>
      </p:pic>
      <p:pic>
        <p:nvPicPr>
          <p:cNvPr id="9" name="mode2_y0_5">
            <a:hlinkClick r:id="" action="ppaction://media"/>
            <a:extLst>
              <a:ext uri="{FF2B5EF4-FFF2-40B4-BE49-F238E27FC236}">
                <a16:creationId xmlns:a16="http://schemas.microsoft.com/office/drawing/2014/main" id="{D38CB59A-F4AA-8133-6F3E-05EED95CE718}"/>
              </a:ext>
            </a:extLst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3">
                  <p14:trim end="41"/>
                </p14:media>
              </p:ext>
            </p:extLst>
          </p:nvPr>
        </p:nvPicPr>
        <p:blipFill>
          <a:blip r:embed="rId14">
            <a:lum contrast="20000"/>
          </a:blip>
          <a:stretch>
            <a:fillRect/>
          </a:stretch>
        </p:blipFill>
        <p:spPr>
          <a:xfrm>
            <a:off x="7295619" y="1018605"/>
            <a:ext cx="2232248" cy="1252500"/>
          </a:xfrm>
          <a:prstGeom prst="rect">
            <a:avLst/>
          </a:prstGeom>
        </p:spPr>
      </p:pic>
      <p:pic>
        <p:nvPicPr>
          <p:cNvPr id="10" name="mode1_y0_75">
            <a:hlinkClick r:id="" action="ppaction://media"/>
            <a:extLst>
              <a:ext uri="{FF2B5EF4-FFF2-40B4-BE49-F238E27FC236}">
                <a16:creationId xmlns:a16="http://schemas.microsoft.com/office/drawing/2014/main" id="{01914404-60C9-998F-8B6A-02879FE9DA32}"/>
              </a:ext>
            </a:extLst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4">
                  <p14:trim end="41"/>
                </p14:media>
              </p:ext>
            </p:extLst>
          </p:nvPr>
        </p:nvPicPr>
        <p:blipFill>
          <a:blip r:embed="rId15">
            <a:lum contrast="20000"/>
          </a:blip>
          <a:stretch>
            <a:fillRect/>
          </a:stretch>
        </p:blipFill>
        <p:spPr>
          <a:xfrm>
            <a:off x="4863976" y="2515285"/>
            <a:ext cx="2232250" cy="1252501"/>
          </a:xfrm>
          <a:prstGeom prst="rect">
            <a:avLst/>
          </a:prstGeom>
        </p:spPr>
      </p:pic>
      <p:pic>
        <p:nvPicPr>
          <p:cNvPr id="11" name="mode2_y0_75">
            <a:hlinkClick r:id="" action="ppaction://media"/>
            <a:extLst>
              <a:ext uri="{FF2B5EF4-FFF2-40B4-BE49-F238E27FC236}">
                <a16:creationId xmlns:a16="http://schemas.microsoft.com/office/drawing/2014/main" id="{DA24F406-E471-7FFC-9B80-A2E5775CE448}"/>
              </a:ext>
            </a:extLst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5">
                  <p14:trim end="41"/>
                </p14:media>
              </p:ext>
            </p:extLst>
          </p:nvPr>
        </p:nvPicPr>
        <p:blipFill>
          <a:blip r:embed="rId16">
            <a:lum contrast="20000"/>
          </a:blip>
          <a:stretch>
            <a:fillRect/>
          </a:stretch>
        </p:blipFill>
        <p:spPr>
          <a:xfrm>
            <a:off x="7295617" y="2522904"/>
            <a:ext cx="2232248" cy="1252501"/>
          </a:xfrm>
          <a:prstGeom prst="rect">
            <a:avLst/>
          </a:prstGeom>
        </p:spPr>
      </p:pic>
      <p:pic>
        <p:nvPicPr>
          <p:cNvPr id="12" name="mode1_y1">
            <a:hlinkClick r:id="" action="ppaction://media"/>
            <a:extLst>
              <a:ext uri="{FF2B5EF4-FFF2-40B4-BE49-F238E27FC236}">
                <a16:creationId xmlns:a16="http://schemas.microsoft.com/office/drawing/2014/main" id="{1C30E3E4-DE45-D599-2801-2FAD1061A64B}"/>
              </a:ext>
            </a:extLst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6">
                  <p14:trim end="41"/>
                </p14:media>
              </p:ext>
            </p:extLst>
          </p:nvPr>
        </p:nvPicPr>
        <p:blipFill>
          <a:blip r:embed="rId17">
            <a:lum contrast="20000"/>
          </a:blip>
          <a:stretch>
            <a:fillRect/>
          </a:stretch>
        </p:blipFill>
        <p:spPr>
          <a:xfrm>
            <a:off x="4864472" y="4011964"/>
            <a:ext cx="2232249" cy="1252501"/>
          </a:xfrm>
          <a:prstGeom prst="rect">
            <a:avLst/>
          </a:prstGeom>
        </p:spPr>
      </p:pic>
      <p:pic>
        <p:nvPicPr>
          <p:cNvPr id="13" name="mode2_y1">
            <a:hlinkClick r:id="" action="ppaction://media"/>
            <a:extLst>
              <a:ext uri="{FF2B5EF4-FFF2-40B4-BE49-F238E27FC236}">
                <a16:creationId xmlns:a16="http://schemas.microsoft.com/office/drawing/2014/main" id="{45EDA2B6-E6F7-9ECE-2F98-098C97BD7CD3}"/>
              </a:ext>
            </a:extLst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7">
                  <p14:trim end="41"/>
                </p14:media>
              </p:ext>
            </p:extLst>
          </p:nvPr>
        </p:nvPicPr>
        <p:blipFill>
          <a:blip r:embed="rId18">
            <a:lum contrast="20000"/>
          </a:blip>
          <a:stretch>
            <a:fillRect/>
          </a:stretch>
        </p:blipFill>
        <p:spPr>
          <a:xfrm>
            <a:off x="7295617" y="4011964"/>
            <a:ext cx="2232248" cy="1252501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17F83212-E0C8-C381-F099-B0C3144B00E8}"/>
                  </a:ext>
                </a:extLst>
              </p:cNvPr>
              <p:cNvSpPr txBox="1"/>
              <p:nvPr/>
            </p:nvSpPr>
            <p:spPr>
              <a:xfrm>
                <a:off x="4747650" y="2258228"/>
                <a:ext cx="244827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28594" indent="-228594" algn="ctr">
                  <a:buFont typeface="+mj-lt"/>
                  <a:buAutoNum type="alphaLcParenR"/>
                </a:pPr>
                <a:r>
                  <a:rPr lang="en-US" sz="800" b="1" dirty="0">
                    <a:latin typeface="+mn-lt"/>
                  </a:rPr>
                  <a:t>1</a:t>
                </a:r>
                <a:r>
                  <a:rPr lang="en-US" sz="800" b="1" baseline="30000" dirty="0">
                    <a:latin typeface="+mn-lt"/>
                  </a:rPr>
                  <a:t>st</a:t>
                </a:r>
                <a:r>
                  <a:rPr lang="en-US" sz="800" b="1" dirty="0">
                    <a:latin typeface="+mn-lt"/>
                  </a:rPr>
                  <a:t> Bending mode: </a:t>
                </a:r>
                <a14:m>
                  <m:oMath xmlns:m="http://schemas.openxmlformats.org/officeDocument/2006/math">
                    <m:f>
                      <m:fPr>
                        <m:type m:val="lin"/>
                        <m:ctrlPr>
                          <a:rPr lang="en-DE" sz="800" b="1" i="1">
                            <a:latin typeface="Cambria Math" panose="02040503050406030204" pitchFamily="18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DE" sz="800" b="1" i="1">
                                <a:latin typeface="Cambria Math" panose="02040503050406030204" pitchFamily="18" charset="0"/>
                                <a:ea typeface="Arial" panose="020B0604020202020204" pitchFamily="34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GB" sz="800" b="1" i="1">
                                <a:latin typeface="Cambria Math" panose="02040503050406030204" pitchFamily="18" charset="0"/>
                                <a:ea typeface="Arial" panose="020B0604020202020204" pitchFamily="34" charset="0"/>
                                <a:cs typeface="Times New Roman" panose="02020603050405020304" pitchFamily="18" charset="0"/>
                              </a:rPr>
                              <m:t>𝒚</m:t>
                            </m:r>
                          </m:e>
                          <m:sub>
                            <m:r>
                              <a:rPr lang="en-GB" sz="800" b="1" i="1">
                                <a:latin typeface="Cambria Math" panose="02040503050406030204" pitchFamily="18" charset="0"/>
                                <a:ea typeface="Arial" panose="020B0604020202020204" pitchFamily="34" charset="0"/>
                                <a:cs typeface="Times New Roman" panose="02020603050405020304" pitchFamily="18" charset="0"/>
                              </a:rPr>
                              <m:t>𝑷</m:t>
                            </m:r>
                          </m:sub>
                        </m:sSub>
                      </m:num>
                      <m:den>
                        <m:f>
                          <m:fPr>
                            <m:type m:val="lin"/>
                            <m:ctrlPr>
                              <a:rPr lang="en-DE" sz="800" b="1" i="1">
                                <a:latin typeface="Cambria Math" panose="02040503050406030204" pitchFamily="18" charset="0"/>
                                <a:ea typeface="Arial" panose="020B0604020202020204" pitchFamily="34" charset="0"/>
                                <a:cs typeface="Times New Roman" panose="02020603050405020304" pitchFamily="18" charset="0"/>
                              </a:rPr>
                            </m:ctrlPr>
                          </m:fPr>
                          <m:num>
                            <m:sSub>
                              <m:sSubPr>
                                <m:ctrlPr>
                                  <a:rPr lang="en-DE" sz="800" b="1" i="1">
                                    <a:latin typeface="Cambria Math" panose="02040503050406030204" pitchFamily="18" charset="0"/>
                                    <a:ea typeface="Arial" panose="020B0604020202020204" pitchFamily="34" charset="0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GB" sz="800" b="1" i="1">
                                    <a:latin typeface="Cambria Math" panose="02040503050406030204" pitchFamily="18" charset="0"/>
                                    <a:ea typeface="Arial" panose="020B0604020202020204" pitchFamily="34" charset="0"/>
                                    <a:cs typeface="Times New Roman" panose="02020603050405020304" pitchFamily="18" charset="0"/>
                                  </a:rPr>
                                  <m:t>𝒃</m:t>
                                </m:r>
                              </m:e>
                              <m:sub>
                                <m:r>
                                  <a:rPr lang="en-GB" sz="800" b="1" i="1">
                                    <a:latin typeface="Cambria Math" panose="02040503050406030204" pitchFamily="18" charset="0"/>
                                    <a:ea typeface="Arial" panose="020B0604020202020204" pitchFamily="34" charset="0"/>
                                    <a:cs typeface="Times New Roman" panose="02020603050405020304" pitchFamily="18" charset="0"/>
                                  </a:rPr>
                                  <m:t>𝑾</m:t>
                                </m:r>
                              </m:sub>
                            </m:sSub>
                          </m:num>
                          <m:den>
                            <m:r>
                              <a:rPr lang="en-US" sz="800" b="1" i="1">
                                <a:latin typeface="Cambria Math" panose="02040503050406030204" pitchFamily="18" charset="0"/>
                                <a:ea typeface="Arial" panose="020B0604020202020204" pitchFamily="34" charset="0"/>
                                <a:cs typeface="Times New Roman" panose="02020603050405020304" pitchFamily="18" charset="0"/>
                              </a:rPr>
                              <m:t>𝟐</m:t>
                            </m:r>
                          </m:den>
                        </m:f>
                      </m:den>
                    </m:f>
                    <m:r>
                      <a:rPr lang="en-US" sz="800" b="1" i="1" smtClean="0">
                        <a:latin typeface="Cambria Math" panose="02040503050406030204" pitchFamily="18" charset="0"/>
                        <a:ea typeface="Arial" panose="020B0604020202020204" pitchFamily="34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sz="800" b="1" i="1" smtClean="0">
                        <a:latin typeface="Cambria Math" panose="02040503050406030204" pitchFamily="18" charset="0"/>
                        <a:ea typeface="Arial" panose="020B0604020202020204" pitchFamily="34" charset="0"/>
                        <a:cs typeface="Times New Roman" panose="02020603050405020304" pitchFamily="18" charset="0"/>
                      </a:rPr>
                      <m:t>𝟎</m:t>
                    </m:r>
                    <m:r>
                      <a:rPr lang="en-US" sz="800" b="1" i="1" smtClean="0">
                        <a:latin typeface="Cambria Math" panose="02040503050406030204" pitchFamily="18" charset="0"/>
                        <a:ea typeface="Arial" panose="020B0604020202020204" pitchFamily="34" charset="0"/>
                        <a:cs typeface="Times New Roman" panose="02020603050405020304" pitchFamily="18" charset="0"/>
                      </a:rPr>
                      <m:t>.</m:t>
                    </m:r>
                    <m:r>
                      <a:rPr lang="en-US" sz="800" b="1" i="1" smtClean="0">
                        <a:latin typeface="Cambria Math" panose="02040503050406030204" pitchFamily="18" charset="0"/>
                        <a:ea typeface="Arial" panose="020B0604020202020204" pitchFamily="34" charset="0"/>
                        <a:cs typeface="Times New Roman" panose="02020603050405020304" pitchFamily="18" charset="0"/>
                      </a:rPr>
                      <m:t>𝟓</m:t>
                    </m:r>
                  </m:oMath>
                </a14:m>
                <a:endParaRPr lang="en-DE" sz="800" b="1" dirty="0">
                  <a:latin typeface="+mn-lt"/>
                </a:endParaRPr>
              </a:p>
            </p:txBody>
          </p:sp>
        </mc:Choice>
        <mc:Fallback xmlns="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17F83212-E0C8-C381-F099-B0C3144B00E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47650" y="2258228"/>
                <a:ext cx="2448272" cy="215444"/>
              </a:xfrm>
              <a:prstGeom prst="rect">
                <a:avLst/>
              </a:prstGeom>
              <a:blipFill>
                <a:blip r:embed="rId19"/>
                <a:stretch>
                  <a:fillRect t="-72222" b="-122222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1413AFCE-1563-98EB-43AF-164B61A54FFA}"/>
                  </a:ext>
                </a:extLst>
              </p:cNvPr>
              <p:cNvSpPr txBox="1"/>
              <p:nvPr/>
            </p:nvSpPr>
            <p:spPr>
              <a:xfrm>
                <a:off x="7187605" y="2258228"/>
                <a:ext cx="244827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28594" indent="-228594" algn="ctr">
                  <a:buFont typeface="+mj-lt"/>
                  <a:buAutoNum type="alphaLcParenR"/>
                </a:pPr>
                <a:r>
                  <a:rPr lang="en-US" sz="800" b="1" dirty="0">
                    <a:solidFill>
                      <a:prstClr val="black"/>
                    </a:solidFill>
                    <a:latin typeface="Verdana"/>
                  </a:rPr>
                  <a:t>1</a:t>
                </a:r>
                <a:r>
                  <a:rPr lang="en-US" sz="800" b="1" baseline="30000" dirty="0">
                    <a:solidFill>
                      <a:prstClr val="black"/>
                    </a:solidFill>
                    <a:latin typeface="Verdana"/>
                  </a:rPr>
                  <a:t>st</a:t>
                </a:r>
                <a:r>
                  <a:rPr lang="en-US" sz="800" b="1" dirty="0">
                    <a:solidFill>
                      <a:prstClr val="black"/>
                    </a:solidFill>
                    <a:latin typeface="Verdana"/>
                  </a:rPr>
                  <a:t> Torsional mode</a:t>
                </a:r>
                <a:r>
                  <a:rPr lang="en-US" sz="800" b="1" dirty="0"/>
                  <a:t>: </a:t>
                </a:r>
                <a14:m>
                  <m:oMath xmlns:m="http://schemas.openxmlformats.org/officeDocument/2006/math">
                    <m:f>
                      <m:fPr>
                        <m:type m:val="lin"/>
                        <m:ctrlPr>
                          <a:rPr lang="en-DE" sz="800" b="1" i="1">
                            <a:latin typeface="Cambria Math" panose="02040503050406030204" pitchFamily="18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DE" sz="800" b="1" i="1">
                                <a:latin typeface="Cambria Math" panose="02040503050406030204" pitchFamily="18" charset="0"/>
                                <a:ea typeface="Arial" panose="020B0604020202020204" pitchFamily="34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GB" sz="800" b="1" i="1">
                                <a:latin typeface="Cambria Math" panose="02040503050406030204" pitchFamily="18" charset="0"/>
                                <a:ea typeface="Arial" panose="020B0604020202020204" pitchFamily="34" charset="0"/>
                                <a:cs typeface="Times New Roman" panose="02020603050405020304" pitchFamily="18" charset="0"/>
                              </a:rPr>
                              <m:t>𝒚</m:t>
                            </m:r>
                          </m:e>
                          <m:sub>
                            <m:r>
                              <a:rPr lang="en-GB" sz="800" b="1" i="1">
                                <a:latin typeface="Cambria Math" panose="02040503050406030204" pitchFamily="18" charset="0"/>
                                <a:ea typeface="Arial" panose="020B0604020202020204" pitchFamily="34" charset="0"/>
                                <a:cs typeface="Times New Roman" panose="02020603050405020304" pitchFamily="18" charset="0"/>
                              </a:rPr>
                              <m:t>𝑷</m:t>
                            </m:r>
                          </m:sub>
                        </m:sSub>
                      </m:num>
                      <m:den>
                        <m:f>
                          <m:fPr>
                            <m:type m:val="lin"/>
                            <m:ctrlPr>
                              <a:rPr lang="en-DE" sz="800" b="1" i="1">
                                <a:latin typeface="Cambria Math" panose="02040503050406030204" pitchFamily="18" charset="0"/>
                                <a:ea typeface="Arial" panose="020B0604020202020204" pitchFamily="34" charset="0"/>
                                <a:cs typeface="Times New Roman" panose="02020603050405020304" pitchFamily="18" charset="0"/>
                              </a:rPr>
                            </m:ctrlPr>
                          </m:fPr>
                          <m:num>
                            <m:sSub>
                              <m:sSubPr>
                                <m:ctrlPr>
                                  <a:rPr lang="en-DE" sz="800" b="1" i="1">
                                    <a:latin typeface="Cambria Math" panose="02040503050406030204" pitchFamily="18" charset="0"/>
                                    <a:ea typeface="Arial" panose="020B0604020202020204" pitchFamily="34" charset="0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GB" sz="800" b="1" i="1">
                                    <a:latin typeface="Cambria Math" panose="02040503050406030204" pitchFamily="18" charset="0"/>
                                    <a:ea typeface="Arial" panose="020B0604020202020204" pitchFamily="34" charset="0"/>
                                    <a:cs typeface="Times New Roman" panose="02020603050405020304" pitchFamily="18" charset="0"/>
                                  </a:rPr>
                                  <m:t>𝒃</m:t>
                                </m:r>
                              </m:e>
                              <m:sub>
                                <m:r>
                                  <a:rPr lang="en-GB" sz="800" b="1" i="1">
                                    <a:latin typeface="Cambria Math" panose="02040503050406030204" pitchFamily="18" charset="0"/>
                                    <a:ea typeface="Arial" panose="020B0604020202020204" pitchFamily="34" charset="0"/>
                                    <a:cs typeface="Times New Roman" panose="02020603050405020304" pitchFamily="18" charset="0"/>
                                  </a:rPr>
                                  <m:t>𝑾</m:t>
                                </m:r>
                              </m:sub>
                            </m:sSub>
                          </m:num>
                          <m:den>
                            <m:r>
                              <a:rPr lang="en-US" sz="800" b="1" i="1">
                                <a:latin typeface="Cambria Math" panose="02040503050406030204" pitchFamily="18" charset="0"/>
                                <a:ea typeface="Arial" panose="020B0604020202020204" pitchFamily="34" charset="0"/>
                                <a:cs typeface="Times New Roman" panose="02020603050405020304" pitchFamily="18" charset="0"/>
                              </a:rPr>
                              <m:t>𝟐</m:t>
                            </m:r>
                          </m:den>
                        </m:f>
                      </m:den>
                    </m:f>
                    <m:r>
                      <a:rPr lang="en-US" sz="800" b="1" i="1">
                        <a:latin typeface="Cambria Math" panose="02040503050406030204" pitchFamily="18" charset="0"/>
                        <a:ea typeface="Arial" panose="020B0604020202020204" pitchFamily="34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sz="800" b="1" i="1">
                        <a:latin typeface="Cambria Math" panose="02040503050406030204" pitchFamily="18" charset="0"/>
                        <a:ea typeface="Arial" panose="020B0604020202020204" pitchFamily="34" charset="0"/>
                        <a:cs typeface="Times New Roman" panose="02020603050405020304" pitchFamily="18" charset="0"/>
                      </a:rPr>
                      <m:t>𝟎</m:t>
                    </m:r>
                    <m:r>
                      <a:rPr lang="en-US" sz="800" b="1" i="1">
                        <a:latin typeface="Cambria Math" panose="02040503050406030204" pitchFamily="18" charset="0"/>
                        <a:ea typeface="Arial" panose="020B0604020202020204" pitchFamily="34" charset="0"/>
                        <a:cs typeface="Times New Roman" panose="02020603050405020304" pitchFamily="18" charset="0"/>
                      </a:rPr>
                      <m:t>.</m:t>
                    </m:r>
                    <m:r>
                      <a:rPr lang="en-US" sz="800" b="1" i="1">
                        <a:latin typeface="Cambria Math" panose="02040503050406030204" pitchFamily="18" charset="0"/>
                        <a:ea typeface="Arial" panose="020B0604020202020204" pitchFamily="34" charset="0"/>
                        <a:cs typeface="Times New Roman" panose="02020603050405020304" pitchFamily="18" charset="0"/>
                      </a:rPr>
                      <m:t>𝟓</m:t>
                    </m:r>
                  </m:oMath>
                </a14:m>
                <a:endParaRPr lang="en-DE" sz="800" b="1" dirty="0">
                  <a:latin typeface="+mn-lt"/>
                </a:endParaRPr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1413AFCE-1563-98EB-43AF-164B61A54FF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87605" y="2258228"/>
                <a:ext cx="2448272" cy="215444"/>
              </a:xfrm>
              <a:prstGeom prst="rect">
                <a:avLst/>
              </a:prstGeom>
              <a:blipFill>
                <a:blip r:embed="rId20"/>
                <a:stretch>
                  <a:fillRect t="-72222" b="-122222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FFA972B3-BA2B-AD83-72F7-9A7CF94CAAE5}"/>
                  </a:ext>
                </a:extLst>
              </p:cNvPr>
              <p:cNvSpPr txBox="1"/>
              <p:nvPr/>
            </p:nvSpPr>
            <p:spPr>
              <a:xfrm>
                <a:off x="4755964" y="3757632"/>
                <a:ext cx="244827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28594" indent="-228594" algn="ctr">
                  <a:buFont typeface="+mj-lt"/>
                  <a:buAutoNum type="alphaLcParenR"/>
                </a:pPr>
                <a:r>
                  <a:rPr lang="en-US" sz="800" b="1" dirty="0">
                    <a:solidFill>
                      <a:prstClr val="black"/>
                    </a:solidFill>
                    <a:latin typeface="Verdana"/>
                  </a:rPr>
                  <a:t>1</a:t>
                </a:r>
                <a:r>
                  <a:rPr lang="en-US" sz="800" b="1" baseline="30000" dirty="0">
                    <a:solidFill>
                      <a:prstClr val="black"/>
                    </a:solidFill>
                    <a:latin typeface="Verdana"/>
                  </a:rPr>
                  <a:t>st</a:t>
                </a:r>
                <a:r>
                  <a:rPr lang="en-US" sz="800" b="1" dirty="0">
                    <a:solidFill>
                      <a:prstClr val="black"/>
                    </a:solidFill>
                    <a:latin typeface="Verdana"/>
                  </a:rPr>
                  <a:t> Bending mode</a:t>
                </a:r>
                <a:r>
                  <a:rPr lang="en-US" sz="800" b="1" dirty="0"/>
                  <a:t>: </a:t>
                </a:r>
                <a14:m>
                  <m:oMath xmlns:m="http://schemas.openxmlformats.org/officeDocument/2006/math">
                    <m:f>
                      <m:fPr>
                        <m:type m:val="lin"/>
                        <m:ctrlPr>
                          <a:rPr lang="en-DE" sz="800" b="1" i="1">
                            <a:latin typeface="Cambria Math" panose="02040503050406030204" pitchFamily="18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DE" sz="800" b="1" i="1">
                                <a:latin typeface="Cambria Math" panose="02040503050406030204" pitchFamily="18" charset="0"/>
                                <a:ea typeface="Arial" panose="020B0604020202020204" pitchFamily="34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GB" sz="800" b="1" i="1">
                                <a:latin typeface="Cambria Math" panose="02040503050406030204" pitchFamily="18" charset="0"/>
                                <a:ea typeface="Arial" panose="020B0604020202020204" pitchFamily="34" charset="0"/>
                                <a:cs typeface="Times New Roman" panose="02020603050405020304" pitchFamily="18" charset="0"/>
                              </a:rPr>
                              <m:t>𝒚</m:t>
                            </m:r>
                          </m:e>
                          <m:sub>
                            <m:r>
                              <a:rPr lang="en-GB" sz="800" b="1" i="1">
                                <a:latin typeface="Cambria Math" panose="02040503050406030204" pitchFamily="18" charset="0"/>
                                <a:ea typeface="Arial" panose="020B0604020202020204" pitchFamily="34" charset="0"/>
                                <a:cs typeface="Times New Roman" panose="02020603050405020304" pitchFamily="18" charset="0"/>
                              </a:rPr>
                              <m:t>𝑷</m:t>
                            </m:r>
                          </m:sub>
                        </m:sSub>
                      </m:num>
                      <m:den>
                        <m:f>
                          <m:fPr>
                            <m:type m:val="lin"/>
                            <m:ctrlPr>
                              <a:rPr lang="en-DE" sz="800" b="1" i="1">
                                <a:latin typeface="Cambria Math" panose="02040503050406030204" pitchFamily="18" charset="0"/>
                                <a:ea typeface="Arial" panose="020B0604020202020204" pitchFamily="34" charset="0"/>
                                <a:cs typeface="Times New Roman" panose="02020603050405020304" pitchFamily="18" charset="0"/>
                              </a:rPr>
                            </m:ctrlPr>
                          </m:fPr>
                          <m:num>
                            <m:sSub>
                              <m:sSubPr>
                                <m:ctrlPr>
                                  <a:rPr lang="en-DE" sz="800" b="1" i="1">
                                    <a:latin typeface="Cambria Math" panose="02040503050406030204" pitchFamily="18" charset="0"/>
                                    <a:ea typeface="Arial" panose="020B0604020202020204" pitchFamily="34" charset="0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GB" sz="800" b="1" i="1">
                                    <a:latin typeface="Cambria Math" panose="02040503050406030204" pitchFamily="18" charset="0"/>
                                    <a:ea typeface="Arial" panose="020B0604020202020204" pitchFamily="34" charset="0"/>
                                    <a:cs typeface="Times New Roman" panose="02020603050405020304" pitchFamily="18" charset="0"/>
                                  </a:rPr>
                                  <m:t>𝒃</m:t>
                                </m:r>
                              </m:e>
                              <m:sub>
                                <m:r>
                                  <a:rPr lang="en-GB" sz="800" b="1" i="1">
                                    <a:latin typeface="Cambria Math" panose="02040503050406030204" pitchFamily="18" charset="0"/>
                                    <a:ea typeface="Arial" panose="020B0604020202020204" pitchFamily="34" charset="0"/>
                                    <a:cs typeface="Times New Roman" panose="02020603050405020304" pitchFamily="18" charset="0"/>
                                  </a:rPr>
                                  <m:t>𝑾</m:t>
                                </m:r>
                              </m:sub>
                            </m:sSub>
                          </m:num>
                          <m:den>
                            <m:r>
                              <a:rPr lang="en-US" sz="800" b="1" i="1">
                                <a:latin typeface="Cambria Math" panose="02040503050406030204" pitchFamily="18" charset="0"/>
                                <a:ea typeface="Arial" panose="020B0604020202020204" pitchFamily="34" charset="0"/>
                                <a:cs typeface="Times New Roman" panose="02020603050405020304" pitchFamily="18" charset="0"/>
                              </a:rPr>
                              <m:t>𝟐</m:t>
                            </m:r>
                          </m:den>
                        </m:f>
                      </m:den>
                    </m:f>
                    <m:r>
                      <a:rPr lang="en-US" sz="800" b="1" i="1">
                        <a:latin typeface="Cambria Math" panose="02040503050406030204" pitchFamily="18" charset="0"/>
                        <a:ea typeface="Arial" panose="020B0604020202020204" pitchFamily="34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sz="800" b="1" i="1">
                        <a:latin typeface="Cambria Math" panose="02040503050406030204" pitchFamily="18" charset="0"/>
                        <a:ea typeface="Arial" panose="020B0604020202020204" pitchFamily="34" charset="0"/>
                        <a:cs typeface="Times New Roman" panose="02020603050405020304" pitchFamily="18" charset="0"/>
                      </a:rPr>
                      <m:t>𝟎</m:t>
                    </m:r>
                    <m:r>
                      <a:rPr lang="en-US" sz="800" b="1" i="1">
                        <a:latin typeface="Cambria Math" panose="02040503050406030204" pitchFamily="18" charset="0"/>
                        <a:ea typeface="Arial" panose="020B0604020202020204" pitchFamily="34" charset="0"/>
                        <a:cs typeface="Times New Roman" panose="02020603050405020304" pitchFamily="18" charset="0"/>
                      </a:rPr>
                      <m:t>.</m:t>
                    </m:r>
                    <m:r>
                      <a:rPr lang="en-US" sz="800" b="1" i="1" smtClean="0">
                        <a:latin typeface="Cambria Math" panose="02040503050406030204" pitchFamily="18" charset="0"/>
                        <a:ea typeface="Arial" panose="020B0604020202020204" pitchFamily="34" charset="0"/>
                        <a:cs typeface="Times New Roman" panose="02020603050405020304" pitchFamily="18" charset="0"/>
                      </a:rPr>
                      <m:t>𝟕</m:t>
                    </m:r>
                    <m:r>
                      <a:rPr lang="en-US" sz="800" b="1" i="1">
                        <a:latin typeface="Cambria Math" panose="02040503050406030204" pitchFamily="18" charset="0"/>
                        <a:ea typeface="Arial" panose="020B0604020202020204" pitchFamily="34" charset="0"/>
                        <a:cs typeface="Times New Roman" panose="02020603050405020304" pitchFamily="18" charset="0"/>
                      </a:rPr>
                      <m:t>𝟓</m:t>
                    </m:r>
                  </m:oMath>
                </a14:m>
                <a:endParaRPr lang="en-DE" sz="800" b="1" dirty="0">
                  <a:latin typeface="+mn-lt"/>
                </a:endParaRPr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FFA972B3-BA2B-AD83-72F7-9A7CF94CAA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55964" y="3757632"/>
                <a:ext cx="2448272" cy="215444"/>
              </a:xfrm>
              <a:prstGeom prst="rect">
                <a:avLst/>
              </a:prstGeom>
              <a:blipFill>
                <a:blip r:embed="rId21"/>
                <a:stretch>
                  <a:fillRect t="-72222" b="-122222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033B471C-C298-758B-5BE9-C0A8338866D8}"/>
                  </a:ext>
                </a:extLst>
              </p:cNvPr>
              <p:cNvSpPr txBox="1"/>
              <p:nvPr/>
            </p:nvSpPr>
            <p:spPr>
              <a:xfrm>
                <a:off x="7185809" y="3757632"/>
                <a:ext cx="244827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28594" indent="-228594" algn="ctr">
                  <a:buFont typeface="+mj-lt"/>
                  <a:buAutoNum type="alphaLcParenR"/>
                </a:pPr>
                <a:r>
                  <a:rPr lang="en-US" sz="800" b="1" dirty="0">
                    <a:solidFill>
                      <a:prstClr val="black"/>
                    </a:solidFill>
                    <a:latin typeface="Verdana"/>
                  </a:rPr>
                  <a:t>1</a:t>
                </a:r>
                <a:r>
                  <a:rPr lang="en-US" sz="800" b="1" baseline="30000" dirty="0">
                    <a:solidFill>
                      <a:prstClr val="black"/>
                    </a:solidFill>
                    <a:latin typeface="Verdana"/>
                  </a:rPr>
                  <a:t>st</a:t>
                </a:r>
                <a:r>
                  <a:rPr lang="en-US" sz="800" b="1" dirty="0">
                    <a:solidFill>
                      <a:prstClr val="black"/>
                    </a:solidFill>
                    <a:latin typeface="Verdana"/>
                  </a:rPr>
                  <a:t> Torsional mode</a:t>
                </a:r>
                <a:r>
                  <a:rPr lang="en-US" sz="800" b="1" dirty="0"/>
                  <a:t>: </a:t>
                </a:r>
                <a14:m>
                  <m:oMath xmlns:m="http://schemas.openxmlformats.org/officeDocument/2006/math">
                    <m:f>
                      <m:fPr>
                        <m:type m:val="lin"/>
                        <m:ctrlPr>
                          <a:rPr lang="en-DE" sz="800" b="1" i="1">
                            <a:latin typeface="Cambria Math" panose="02040503050406030204" pitchFamily="18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DE" sz="800" b="1" i="1">
                                <a:latin typeface="Cambria Math" panose="02040503050406030204" pitchFamily="18" charset="0"/>
                                <a:ea typeface="Arial" panose="020B0604020202020204" pitchFamily="34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GB" sz="800" b="1" i="1">
                                <a:latin typeface="Cambria Math" panose="02040503050406030204" pitchFamily="18" charset="0"/>
                                <a:ea typeface="Arial" panose="020B0604020202020204" pitchFamily="34" charset="0"/>
                                <a:cs typeface="Times New Roman" panose="02020603050405020304" pitchFamily="18" charset="0"/>
                              </a:rPr>
                              <m:t>𝒚</m:t>
                            </m:r>
                          </m:e>
                          <m:sub>
                            <m:r>
                              <a:rPr lang="en-GB" sz="800" b="1" i="1">
                                <a:latin typeface="Cambria Math" panose="02040503050406030204" pitchFamily="18" charset="0"/>
                                <a:ea typeface="Arial" panose="020B0604020202020204" pitchFamily="34" charset="0"/>
                                <a:cs typeface="Times New Roman" panose="02020603050405020304" pitchFamily="18" charset="0"/>
                              </a:rPr>
                              <m:t>𝑷</m:t>
                            </m:r>
                          </m:sub>
                        </m:sSub>
                      </m:num>
                      <m:den>
                        <m:f>
                          <m:fPr>
                            <m:type m:val="lin"/>
                            <m:ctrlPr>
                              <a:rPr lang="en-DE" sz="800" b="1" i="1">
                                <a:latin typeface="Cambria Math" panose="02040503050406030204" pitchFamily="18" charset="0"/>
                                <a:ea typeface="Arial" panose="020B0604020202020204" pitchFamily="34" charset="0"/>
                                <a:cs typeface="Times New Roman" panose="02020603050405020304" pitchFamily="18" charset="0"/>
                              </a:rPr>
                            </m:ctrlPr>
                          </m:fPr>
                          <m:num>
                            <m:sSub>
                              <m:sSubPr>
                                <m:ctrlPr>
                                  <a:rPr lang="en-DE" sz="800" b="1" i="1">
                                    <a:latin typeface="Cambria Math" panose="02040503050406030204" pitchFamily="18" charset="0"/>
                                    <a:ea typeface="Arial" panose="020B0604020202020204" pitchFamily="34" charset="0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GB" sz="800" b="1" i="1">
                                    <a:latin typeface="Cambria Math" panose="02040503050406030204" pitchFamily="18" charset="0"/>
                                    <a:ea typeface="Arial" panose="020B0604020202020204" pitchFamily="34" charset="0"/>
                                    <a:cs typeface="Times New Roman" panose="02020603050405020304" pitchFamily="18" charset="0"/>
                                  </a:rPr>
                                  <m:t>𝒃</m:t>
                                </m:r>
                              </m:e>
                              <m:sub>
                                <m:r>
                                  <a:rPr lang="en-GB" sz="800" b="1" i="1">
                                    <a:latin typeface="Cambria Math" panose="02040503050406030204" pitchFamily="18" charset="0"/>
                                    <a:ea typeface="Arial" panose="020B0604020202020204" pitchFamily="34" charset="0"/>
                                    <a:cs typeface="Times New Roman" panose="02020603050405020304" pitchFamily="18" charset="0"/>
                                  </a:rPr>
                                  <m:t>𝑾</m:t>
                                </m:r>
                              </m:sub>
                            </m:sSub>
                          </m:num>
                          <m:den>
                            <m:r>
                              <a:rPr lang="en-US" sz="800" b="1" i="1">
                                <a:latin typeface="Cambria Math" panose="02040503050406030204" pitchFamily="18" charset="0"/>
                                <a:ea typeface="Arial" panose="020B0604020202020204" pitchFamily="34" charset="0"/>
                                <a:cs typeface="Times New Roman" panose="02020603050405020304" pitchFamily="18" charset="0"/>
                              </a:rPr>
                              <m:t>𝟐</m:t>
                            </m:r>
                          </m:den>
                        </m:f>
                      </m:den>
                    </m:f>
                    <m:r>
                      <a:rPr lang="en-US" sz="800" b="1" i="1">
                        <a:latin typeface="Cambria Math" panose="02040503050406030204" pitchFamily="18" charset="0"/>
                        <a:ea typeface="Arial" panose="020B0604020202020204" pitchFamily="34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sz="800" b="1" i="1">
                        <a:latin typeface="Cambria Math" panose="02040503050406030204" pitchFamily="18" charset="0"/>
                        <a:ea typeface="Arial" panose="020B0604020202020204" pitchFamily="34" charset="0"/>
                        <a:cs typeface="Times New Roman" panose="02020603050405020304" pitchFamily="18" charset="0"/>
                      </a:rPr>
                      <m:t>𝟎</m:t>
                    </m:r>
                    <m:r>
                      <a:rPr lang="en-US" sz="800" b="1" i="1">
                        <a:latin typeface="Cambria Math" panose="02040503050406030204" pitchFamily="18" charset="0"/>
                        <a:ea typeface="Arial" panose="020B0604020202020204" pitchFamily="34" charset="0"/>
                        <a:cs typeface="Times New Roman" panose="02020603050405020304" pitchFamily="18" charset="0"/>
                      </a:rPr>
                      <m:t>.</m:t>
                    </m:r>
                    <m:r>
                      <a:rPr lang="en-US" sz="800" b="1" i="1" smtClean="0">
                        <a:latin typeface="Cambria Math" panose="02040503050406030204" pitchFamily="18" charset="0"/>
                        <a:ea typeface="Arial" panose="020B0604020202020204" pitchFamily="34" charset="0"/>
                        <a:cs typeface="Times New Roman" panose="02020603050405020304" pitchFamily="18" charset="0"/>
                      </a:rPr>
                      <m:t>𝟕</m:t>
                    </m:r>
                    <m:r>
                      <a:rPr lang="en-US" sz="800" b="1" i="1">
                        <a:latin typeface="Cambria Math" panose="02040503050406030204" pitchFamily="18" charset="0"/>
                        <a:ea typeface="Arial" panose="020B0604020202020204" pitchFamily="34" charset="0"/>
                        <a:cs typeface="Times New Roman" panose="02020603050405020304" pitchFamily="18" charset="0"/>
                      </a:rPr>
                      <m:t>𝟓</m:t>
                    </m:r>
                  </m:oMath>
                </a14:m>
                <a:endParaRPr lang="en-DE" sz="800" b="1" dirty="0">
                  <a:latin typeface="+mn-lt"/>
                </a:endParaRPr>
              </a:p>
            </p:txBody>
          </p:sp>
        </mc:Choice>
        <mc:Fallback xmlns="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033B471C-C298-758B-5BE9-C0A8338866D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85809" y="3757632"/>
                <a:ext cx="2448272" cy="215444"/>
              </a:xfrm>
              <a:prstGeom prst="rect">
                <a:avLst/>
              </a:prstGeom>
              <a:blipFill>
                <a:blip r:embed="rId22"/>
                <a:stretch>
                  <a:fillRect t="-72222" b="-122222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4A174523-1552-B46E-2E05-71BFFE537102}"/>
                  </a:ext>
                </a:extLst>
              </p:cNvPr>
              <p:cNvSpPr txBox="1"/>
              <p:nvPr/>
            </p:nvSpPr>
            <p:spPr>
              <a:xfrm>
                <a:off x="4755964" y="5240793"/>
                <a:ext cx="244827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28594" indent="-228594" algn="ctr">
                  <a:buFont typeface="+mj-lt"/>
                  <a:buAutoNum type="alphaLcParenR"/>
                </a:pPr>
                <a:r>
                  <a:rPr lang="en-US" sz="800" b="1" dirty="0">
                    <a:solidFill>
                      <a:prstClr val="black"/>
                    </a:solidFill>
                    <a:latin typeface="Verdana"/>
                  </a:rPr>
                  <a:t>1</a:t>
                </a:r>
                <a:r>
                  <a:rPr lang="en-US" sz="800" b="1" baseline="30000" dirty="0">
                    <a:solidFill>
                      <a:prstClr val="black"/>
                    </a:solidFill>
                    <a:latin typeface="Verdana"/>
                  </a:rPr>
                  <a:t>st</a:t>
                </a:r>
                <a:r>
                  <a:rPr lang="en-US" sz="800" b="1" dirty="0">
                    <a:solidFill>
                      <a:prstClr val="black"/>
                    </a:solidFill>
                    <a:latin typeface="Verdana"/>
                  </a:rPr>
                  <a:t> Bending mode</a:t>
                </a:r>
                <a:r>
                  <a:rPr lang="en-US" sz="800" b="1" dirty="0"/>
                  <a:t>: </a:t>
                </a:r>
                <a14:m>
                  <m:oMath xmlns:m="http://schemas.openxmlformats.org/officeDocument/2006/math">
                    <m:f>
                      <m:fPr>
                        <m:type m:val="lin"/>
                        <m:ctrlPr>
                          <a:rPr lang="en-DE" sz="800" b="1" i="1">
                            <a:latin typeface="Cambria Math" panose="02040503050406030204" pitchFamily="18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DE" sz="800" b="1" i="1">
                                <a:latin typeface="Cambria Math" panose="02040503050406030204" pitchFamily="18" charset="0"/>
                                <a:ea typeface="Arial" panose="020B0604020202020204" pitchFamily="34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GB" sz="800" b="1" i="1">
                                <a:latin typeface="Cambria Math" panose="02040503050406030204" pitchFamily="18" charset="0"/>
                                <a:ea typeface="Arial" panose="020B0604020202020204" pitchFamily="34" charset="0"/>
                                <a:cs typeface="Times New Roman" panose="02020603050405020304" pitchFamily="18" charset="0"/>
                              </a:rPr>
                              <m:t>𝒚</m:t>
                            </m:r>
                          </m:e>
                          <m:sub>
                            <m:r>
                              <a:rPr lang="en-GB" sz="800" b="1" i="1">
                                <a:latin typeface="Cambria Math" panose="02040503050406030204" pitchFamily="18" charset="0"/>
                                <a:ea typeface="Arial" panose="020B0604020202020204" pitchFamily="34" charset="0"/>
                                <a:cs typeface="Times New Roman" panose="02020603050405020304" pitchFamily="18" charset="0"/>
                              </a:rPr>
                              <m:t>𝑷</m:t>
                            </m:r>
                          </m:sub>
                        </m:sSub>
                      </m:num>
                      <m:den>
                        <m:f>
                          <m:fPr>
                            <m:type m:val="lin"/>
                            <m:ctrlPr>
                              <a:rPr lang="en-DE" sz="800" b="1" i="1">
                                <a:latin typeface="Cambria Math" panose="02040503050406030204" pitchFamily="18" charset="0"/>
                                <a:ea typeface="Arial" panose="020B0604020202020204" pitchFamily="34" charset="0"/>
                                <a:cs typeface="Times New Roman" panose="02020603050405020304" pitchFamily="18" charset="0"/>
                              </a:rPr>
                            </m:ctrlPr>
                          </m:fPr>
                          <m:num>
                            <m:sSub>
                              <m:sSubPr>
                                <m:ctrlPr>
                                  <a:rPr lang="en-DE" sz="800" b="1" i="1">
                                    <a:latin typeface="Cambria Math" panose="02040503050406030204" pitchFamily="18" charset="0"/>
                                    <a:ea typeface="Arial" panose="020B0604020202020204" pitchFamily="34" charset="0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GB" sz="800" b="1" i="1">
                                    <a:latin typeface="Cambria Math" panose="02040503050406030204" pitchFamily="18" charset="0"/>
                                    <a:ea typeface="Arial" panose="020B0604020202020204" pitchFamily="34" charset="0"/>
                                    <a:cs typeface="Times New Roman" panose="02020603050405020304" pitchFamily="18" charset="0"/>
                                  </a:rPr>
                                  <m:t>𝒃</m:t>
                                </m:r>
                              </m:e>
                              <m:sub>
                                <m:r>
                                  <a:rPr lang="en-GB" sz="800" b="1" i="1">
                                    <a:latin typeface="Cambria Math" panose="02040503050406030204" pitchFamily="18" charset="0"/>
                                    <a:ea typeface="Arial" panose="020B0604020202020204" pitchFamily="34" charset="0"/>
                                    <a:cs typeface="Times New Roman" panose="02020603050405020304" pitchFamily="18" charset="0"/>
                                  </a:rPr>
                                  <m:t>𝑾</m:t>
                                </m:r>
                              </m:sub>
                            </m:sSub>
                          </m:num>
                          <m:den>
                            <m:r>
                              <a:rPr lang="en-US" sz="800" b="1" i="1">
                                <a:latin typeface="Cambria Math" panose="02040503050406030204" pitchFamily="18" charset="0"/>
                                <a:ea typeface="Arial" panose="020B0604020202020204" pitchFamily="34" charset="0"/>
                                <a:cs typeface="Times New Roman" panose="02020603050405020304" pitchFamily="18" charset="0"/>
                              </a:rPr>
                              <m:t>𝟐</m:t>
                            </m:r>
                          </m:den>
                        </m:f>
                      </m:den>
                    </m:f>
                    <m:r>
                      <a:rPr lang="en-US" sz="800" b="1" i="1">
                        <a:latin typeface="Cambria Math" panose="02040503050406030204" pitchFamily="18" charset="0"/>
                        <a:ea typeface="Arial" panose="020B0604020202020204" pitchFamily="34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sz="800" b="1" i="1" smtClean="0">
                        <a:latin typeface="Cambria Math" panose="02040503050406030204" pitchFamily="18" charset="0"/>
                        <a:ea typeface="Arial" panose="020B0604020202020204" pitchFamily="34" charset="0"/>
                        <a:cs typeface="Times New Roman" panose="02020603050405020304" pitchFamily="18" charset="0"/>
                      </a:rPr>
                      <m:t>𝟏</m:t>
                    </m:r>
                    <m:r>
                      <a:rPr lang="en-US" sz="800" b="1" i="1" smtClean="0">
                        <a:latin typeface="Cambria Math" panose="02040503050406030204" pitchFamily="18" charset="0"/>
                        <a:ea typeface="Arial" panose="020B0604020202020204" pitchFamily="34" charset="0"/>
                        <a:cs typeface="Times New Roman" panose="02020603050405020304" pitchFamily="18" charset="0"/>
                      </a:rPr>
                      <m:t>.</m:t>
                    </m:r>
                    <m:r>
                      <a:rPr lang="en-US" sz="800" b="1" i="1" smtClean="0">
                        <a:latin typeface="Cambria Math" panose="02040503050406030204" pitchFamily="18" charset="0"/>
                        <a:ea typeface="Arial" panose="020B0604020202020204" pitchFamily="34" charset="0"/>
                        <a:cs typeface="Times New Roman" panose="02020603050405020304" pitchFamily="18" charset="0"/>
                      </a:rPr>
                      <m:t>𝟎</m:t>
                    </m:r>
                  </m:oMath>
                </a14:m>
                <a:endParaRPr lang="en-DE" sz="800" b="1" dirty="0">
                  <a:latin typeface="+mn-lt"/>
                </a:endParaRPr>
              </a:p>
            </p:txBody>
          </p:sp>
        </mc:Choice>
        <mc:Fallback xmlns="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4A174523-1552-B46E-2E05-71BFFE53710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55964" y="5240793"/>
                <a:ext cx="2448272" cy="215444"/>
              </a:xfrm>
              <a:prstGeom prst="rect">
                <a:avLst/>
              </a:prstGeom>
              <a:blipFill>
                <a:blip r:embed="rId23"/>
                <a:stretch>
                  <a:fillRect t="-74286" b="-128571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77D461CA-813E-DC8F-EF80-CF750716F971}"/>
                  </a:ext>
                </a:extLst>
              </p:cNvPr>
              <p:cNvSpPr txBox="1"/>
              <p:nvPr/>
            </p:nvSpPr>
            <p:spPr>
              <a:xfrm>
                <a:off x="7178474" y="5233763"/>
                <a:ext cx="244827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28594" indent="-228594" algn="ctr">
                  <a:buFont typeface="+mj-lt"/>
                  <a:buAutoNum type="alphaLcParenR"/>
                </a:pPr>
                <a:r>
                  <a:rPr lang="en-US" sz="800" b="1" dirty="0">
                    <a:solidFill>
                      <a:prstClr val="black"/>
                    </a:solidFill>
                    <a:latin typeface="Verdana"/>
                  </a:rPr>
                  <a:t>1</a:t>
                </a:r>
                <a:r>
                  <a:rPr lang="en-US" sz="800" b="1" baseline="30000" dirty="0">
                    <a:solidFill>
                      <a:prstClr val="black"/>
                    </a:solidFill>
                    <a:latin typeface="Verdana"/>
                  </a:rPr>
                  <a:t>st</a:t>
                </a:r>
                <a:r>
                  <a:rPr lang="en-US" sz="800" b="1" dirty="0">
                    <a:solidFill>
                      <a:prstClr val="black"/>
                    </a:solidFill>
                    <a:latin typeface="Verdana"/>
                  </a:rPr>
                  <a:t> Torsional mode</a:t>
                </a:r>
                <a:r>
                  <a:rPr lang="en-US" sz="800" b="1" dirty="0"/>
                  <a:t>: </a:t>
                </a:r>
                <a14:m>
                  <m:oMath xmlns:m="http://schemas.openxmlformats.org/officeDocument/2006/math">
                    <m:f>
                      <m:fPr>
                        <m:type m:val="lin"/>
                        <m:ctrlPr>
                          <a:rPr lang="en-DE" sz="800" b="1" i="1">
                            <a:latin typeface="Cambria Math" panose="02040503050406030204" pitchFamily="18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DE" sz="800" b="1" i="1">
                                <a:latin typeface="Cambria Math" panose="02040503050406030204" pitchFamily="18" charset="0"/>
                                <a:ea typeface="Arial" panose="020B0604020202020204" pitchFamily="34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GB" sz="800" b="1" i="1">
                                <a:latin typeface="Cambria Math" panose="02040503050406030204" pitchFamily="18" charset="0"/>
                                <a:ea typeface="Arial" panose="020B0604020202020204" pitchFamily="34" charset="0"/>
                                <a:cs typeface="Times New Roman" panose="02020603050405020304" pitchFamily="18" charset="0"/>
                              </a:rPr>
                              <m:t>𝒚</m:t>
                            </m:r>
                          </m:e>
                          <m:sub>
                            <m:r>
                              <a:rPr lang="en-GB" sz="800" b="1" i="1">
                                <a:latin typeface="Cambria Math" panose="02040503050406030204" pitchFamily="18" charset="0"/>
                                <a:ea typeface="Arial" panose="020B0604020202020204" pitchFamily="34" charset="0"/>
                                <a:cs typeface="Times New Roman" panose="02020603050405020304" pitchFamily="18" charset="0"/>
                              </a:rPr>
                              <m:t>𝑷</m:t>
                            </m:r>
                          </m:sub>
                        </m:sSub>
                      </m:num>
                      <m:den>
                        <m:f>
                          <m:fPr>
                            <m:type m:val="lin"/>
                            <m:ctrlPr>
                              <a:rPr lang="en-DE" sz="800" b="1" i="1">
                                <a:latin typeface="Cambria Math" panose="02040503050406030204" pitchFamily="18" charset="0"/>
                                <a:ea typeface="Arial" panose="020B0604020202020204" pitchFamily="34" charset="0"/>
                                <a:cs typeface="Times New Roman" panose="02020603050405020304" pitchFamily="18" charset="0"/>
                              </a:rPr>
                            </m:ctrlPr>
                          </m:fPr>
                          <m:num>
                            <m:sSub>
                              <m:sSubPr>
                                <m:ctrlPr>
                                  <a:rPr lang="en-DE" sz="800" b="1" i="1">
                                    <a:latin typeface="Cambria Math" panose="02040503050406030204" pitchFamily="18" charset="0"/>
                                    <a:ea typeface="Arial" panose="020B0604020202020204" pitchFamily="34" charset="0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GB" sz="800" b="1" i="1">
                                    <a:latin typeface="Cambria Math" panose="02040503050406030204" pitchFamily="18" charset="0"/>
                                    <a:ea typeface="Arial" panose="020B0604020202020204" pitchFamily="34" charset="0"/>
                                    <a:cs typeface="Times New Roman" panose="02020603050405020304" pitchFamily="18" charset="0"/>
                                  </a:rPr>
                                  <m:t>𝒃</m:t>
                                </m:r>
                              </m:e>
                              <m:sub>
                                <m:r>
                                  <a:rPr lang="en-GB" sz="800" b="1" i="1">
                                    <a:latin typeface="Cambria Math" panose="02040503050406030204" pitchFamily="18" charset="0"/>
                                    <a:ea typeface="Arial" panose="020B0604020202020204" pitchFamily="34" charset="0"/>
                                    <a:cs typeface="Times New Roman" panose="02020603050405020304" pitchFamily="18" charset="0"/>
                                  </a:rPr>
                                  <m:t>𝑾</m:t>
                                </m:r>
                              </m:sub>
                            </m:sSub>
                          </m:num>
                          <m:den>
                            <m:r>
                              <a:rPr lang="en-US" sz="800" b="1" i="1">
                                <a:latin typeface="Cambria Math" panose="02040503050406030204" pitchFamily="18" charset="0"/>
                                <a:ea typeface="Arial" panose="020B0604020202020204" pitchFamily="34" charset="0"/>
                                <a:cs typeface="Times New Roman" panose="02020603050405020304" pitchFamily="18" charset="0"/>
                              </a:rPr>
                              <m:t>𝟐</m:t>
                            </m:r>
                          </m:den>
                        </m:f>
                      </m:den>
                    </m:f>
                    <m:r>
                      <a:rPr lang="en-US" sz="800" b="1" i="1">
                        <a:latin typeface="Cambria Math" panose="02040503050406030204" pitchFamily="18" charset="0"/>
                        <a:ea typeface="Arial" panose="020B0604020202020204" pitchFamily="34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sz="800" b="1" i="1" smtClean="0">
                        <a:latin typeface="Cambria Math" panose="02040503050406030204" pitchFamily="18" charset="0"/>
                        <a:ea typeface="Arial" panose="020B0604020202020204" pitchFamily="34" charset="0"/>
                        <a:cs typeface="Times New Roman" panose="02020603050405020304" pitchFamily="18" charset="0"/>
                      </a:rPr>
                      <m:t>𝟏</m:t>
                    </m:r>
                    <m:r>
                      <a:rPr lang="en-US" sz="800" b="1" i="1" smtClean="0">
                        <a:latin typeface="Cambria Math" panose="02040503050406030204" pitchFamily="18" charset="0"/>
                        <a:ea typeface="Arial" panose="020B0604020202020204" pitchFamily="34" charset="0"/>
                        <a:cs typeface="Times New Roman" panose="02020603050405020304" pitchFamily="18" charset="0"/>
                      </a:rPr>
                      <m:t>.</m:t>
                    </m:r>
                    <m:r>
                      <a:rPr lang="en-US" sz="800" b="1" i="1" smtClean="0">
                        <a:latin typeface="Cambria Math" panose="02040503050406030204" pitchFamily="18" charset="0"/>
                        <a:ea typeface="Arial" panose="020B0604020202020204" pitchFamily="34" charset="0"/>
                        <a:cs typeface="Times New Roman" panose="02020603050405020304" pitchFamily="18" charset="0"/>
                      </a:rPr>
                      <m:t>𝟎</m:t>
                    </m:r>
                  </m:oMath>
                </a14:m>
                <a:endParaRPr lang="en-DE" sz="800" b="1" dirty="0">
                  <a:latin typeface="+mn-lt"/>
                </a:endParaRPr>
              </a:p>
            </p:txBody>
          </p:sp>
        </mc:Choice>
        <mc:Fallback xmlns="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77D461CA-813E-DC8F-EF80-CF750716F97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78474" y="5233763"/>
                <a:ext cx="2448272" cy="215444"/>
              </a:xfrm>
              <a:prstGeom prst="rect">
                <a:avLst/>
              </a:prstGeom>
              <a:blipFill>
                <a:blip r:embed="rId24"/>
                <a:stretch>
                  <a:fillRect t="-74286" b="-128571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2849516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8" dur="4976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9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20" dur="4976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21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22" dur="4976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38" dur="4976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39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40" dur="4976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41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42" dur="4976" fill="hold"/>
                                        <p:tgtEl>
                                          <p:spTgt spid="1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49" repeatCount="indefinite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video>
              <p:cMediaNode vol="80000">
                <p:cTn id="50" repeatCount="indefinite" fill="remove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video>
              <p:cMediaNode vol="80000">
                <p:cTn id="51" repeatCount="indefinite" fill="remove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  <p:video>
              <p:cMediaNode vol="80000">
                <p:cTn id="52" repeatCount="indefinite" fill="remove" display="0">
                  <p:stCondLst>
                    <p:cond delay="indefinite"/>
                  </p:stCondLst>
                </p:cTn>
                <p:tgtEl>
                  <p:spTgt spid="11"/>
                </p:tgtEl>
              </p:cMediaNode>
            </p:video>
            <p:video>
              <p:cMediaNode vol="80000">
                <p:cTn id="53" repeatCount="indefinite" fill="remove" display="0">
                  <p:stCondLst>
                    <p:cond delay="indefinite"/>
                  </p:stCondLst>
                </p:cTn>
                <p:tgtEl>
                  <p:spTgt spid="12"/>
                </p:tgtEl>
              </p:cMediaNode>
            </p:video>
            <p:video>
              <p:cMediaNode vol="80000">
                <p:cTn id="54" repeatCount="indefinite" fill="remove" display="0">
                  <p:stCondLst>
                    <p:cond delay="indefinite"/>
                  </p:stCondLst>
                </p:cTn>
                <p:tgtEl>
                  <p:spTgt spid="13"/>
                </p:tgtEl>
              </p:cMediaNode>
            </p:video>
          </p:childTnLst>
        </p:cTn>
      </p:par>
    </p:tnLst>
    <p:bldLst>
      <p:bldP spid="3" grpId="0"/>
      <p:bldP spid="5" grpId="0"/>
      <p:bldP spid="14" grpId="0"/>
      <p:bldP spid="15" grpId="0"/>
      <p:bldP spid="16" grpId="0"/>
      <p:bldP spid="17" grpId="0"/>
      <p:bldP spid="18" grpId="0"/>
      <p:bldP spid="19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38ED40-9917-A294-BEA6-82CFEB6E35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erodynamic Investigation: Complex Modes</a:t>
            </a:r>
            <a:endParaRPr lang="en-D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94EA77-4737-FD1E-A05D-4B2E2F5578A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Rigidly Attached Propeller</a:t>
            </a:r>
            <a:endParaRPr lang="en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Content Placeholder 2">
                <a:extLst>
                  <a:ext uri="{FF2B5EF4-FFF2-40B4-BE49-F238E27FC236}">
                    <a16:creationId xmlns:a16="http://schemas.microsoft.com/office/drawing/2014/main" id="{2D8B4533-EFCF-B987-1E09-BE27CF4D839D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441033" y="4369668"/>
                <a:ext cx="8928992" cy="16198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>
                <a:lvl1pPr marL="0" indent="0" algn="l" rtl="0" eaLnBrk="0" fontAlgn="base" hangingPunct="0">
                  <a:spcBef>
                    <a:spcPts val="0"/>
                  </a:spcBef>
                  <a:spcAft>
                    <a:spcPts val="0"/>
                  </a:spcAft>
                  <a:buFontTx/>
                  <a:buNone/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1pPr>
                <a:lvl2pPr marL="0" indent="0" algn="l" rtl="0" eaLnBrk="0" fontAlgn="base" hangingPunct="0">
                  <a:spcBef>
                    <a:spcPts val="2000"/>
                  </a:spcBef>
                  <a:spcAft>
                    <a:spcPct val="0"/>
                  </a:spcAft>
                  <a:buNone/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2pPr>
                <a:lvl3pPr marL="723900" indent="-3683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Verdana" pitchFamily="34" charset="0"/>
                  <a:buChar char="&gt;"/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3pPr>
                <a:lvl4pPr marL="0" indent="0" algn="l" rtl="0" eaLnBrk="0" fontAlgn="base" hangingPunct="0">
                  <a:spcBef>
                    <a:spcPts val="1600"/>
                  </a:spcBef>
                  <a:spcAft>
                    <a:spcPct val="0"/>
                  </a:spcAft>
                  <a:buFontTx/>
                  <a:buNone/>
                  <a:defRPr sz="11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4pPr>
                <a:lvl5pPr marL="723900" indent="-3683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Verdana" pitchFamily="34" charset="0"/>
                  <a:buChar char="&gt;"/>
                  <a:defRPr sz="11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r>
                  <a:rPr lang="en-US" sz="1200" dirty="0"/>
                  <a:t>A positive thrust coefficient resulted in positive variations in lift and moment coefficients and phase shifts.</a:t>
                </a:r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r>
                  <a:rPr lang="en-US" sz="1200" dirty="0"/>
                  <a:t>In the bending wing mode:</a:t>
                </a:r>
              </a:p>
              <a:p>
                <a:pPr marL="285744" indent="-285744">
                  <a:lnSpc>
                    <a:spcPct val="125000"/>
                  </a:lnSpc>
                  <a:buFont typeface="+mj-lt"/>
                  <a:buAutoNum type="alphaLcParenR"/>
                </a:pPr>
                <a:r>
                  <a:rPr lang="en-US" sz="1200" dirty="0"/>
                  <a:t>A </a:t>
                </a:r>
                <a:r>
                  <a:rPr lang="en-US" sz="1200" b="1" dirty="0"/>
                  <a:t>moderate increase </a:t>
                </a:r>
                <a:r>
                  <a:rPr lang="en-US" sz="1200" dirty="0"/>
                  <a:t>in </a:t>
                </a:r>
                <a14:m>
                  <m:oMath xmlns:m="http://schemas.openxmlformats.org/officeDocument/2006/math">
                    <m:r>
                      <a:rPr lang="en-GB" sz="1200" i="1">
                        <a:latin typeface="Cambria Math" panose="02040503050406030204" pitchFamily="18" charset="0"/>
                      </a:rPr>
                      <m:t>∆</m:t>
                    </m:r>
                    <m:sSub>
                      <m:sSubPr>
                        <m:ctrlPr>
                          <a:rPr lang="en-DE" sz="12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200" i="1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en-GB" sz="1200" i="1">
                            <a:latin typeface="Cambria Math" panose="02040503050406030204" pitchFamily="18" charset="0"/>
                          </a:rPr>
                          <m:t>𝐿</m:t>
                        </m:r>
                      </m:sub>
                    </m:sSub>
                  </m:oMath>
                </a14:m>
                <a:r>
                  <a:rPr lang="en-US" sz="1200" dirty="0"/>
                  <a:t> and </a:t>
                </a:r>
                <a14:m>
                  <m:oMath xmlns:m="http://schemas.openxmlformats.org/officeDocument/2006/math">
                    <m:r>
                      <a:rPr lang="en-GB" sz="1200" i="1" smtClean="0"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∆</m:t>
                    </m:r>
                    <m:sSub>
                      <m:sSubPr>
                        <m:ctrlPr>
                          <a:rPr lang="en-DE" sz="1200" i="1" smtClean="0"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sz="1200" b="0" i="1" smtClean="0"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  <m:t>𝐶</m:t>
                        </m:r>
                      </m:e>
                      <m:sub>
                        <m:r>
                          <a:rPr lang="en-GB" sz="1200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𝑀</m:t>
                        </m:r>
                      </m:sub>
                    </m:sSub>
                  </m:oMath>
                </a14:m>
                <a:r>
                  <a:rPr lang="en-US" sz="1200" dirty="0"/>
                  <a:t> compared to inboard propeller locations.</a:t>
                </a:r>
              </a:p>
              <a:p>
                <a:pPr marL="285744" indent="-285744">
                  <a:lnSpc>
                    <a:spcPct val="125000"/>
                  </a:lnSpc>
                  <a:buFont typeface="+mj-lt"/>
                  <a:buAutoNum type="alphaLcParenR"/>
                </a:pPr>
                <a:r>
                  <a:rPr lang="en-US" sz="1200" dirty="0"/>
                  <a:t>A </a:t>
                </a:r>
                <a:r>
                  <a:rPr lang="en-US" sz="1200" b="1" dirty="0"/>
                  <a:t>large increase </a:t>
                </a:r>
                <a:r>
                  <a:rPr lang="en-US" sz="1200" dirty="0"/>
                  <a:t>in </a:t>
                </a:r>
                <a14:m>
                  <m:oMath xmlns:m="http://schemas.openxmlformats.org/officeDocument/2006/math">
                    <m:r>
                      <a:rPr lang="en-GB" sz="1200" i="1" smtClean="0"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∆</m:t>
                    </m:r>
                    <m:sSub>
                      <m:sSubPr>
                        <m:ctrlPr>
                          <a:rPr lang="en-DE" sz="1200" i="1"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GB" sz="1200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𝜓</m:t>
                        </m:r>
                      </m:e>
                      <m:sub>
                        <m:r>
                          <a:rPr lang="en-GB" sz="1200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𝑀</m:t>
                        </m:r>
                      </m:sub>
                    </m:sSub>
                  </m:oMath>
                </a14:m>
                <a:r>
                  <a:rPr lang="en-US" sz="1200" dirty="0"/>
                  <a:t> at lower </a:t>
                </a:r>
                <a14:m>
                  <m:oMath xmlns:m="http://schemas.openxmlformats.org/officeDocument/2006/math">
                    <m:r>
                      <a:rPr lang="en-US" sz="1200" i="1" dirty="0" smtClean="0">
                        <a:latin typeface="Cambria Math" panose="02040503050406030204" pitchFamily="18" charset="0"/>
                      </a:rPr>
                      <m:t>𝑘</m:t>
                    </m:r>
                  </m:oMath>
                </a14:m>
                <a:r>
                  <a:rPr lang="en-US" sz="1200" dirty="0"/>
                  <a:t> compared to inboard propeller locations.</a:t>
                </a:r>
              </a:p>
              <a:p>
                <a:pPr marL="285744" indent="-285744">
                  <a:lnSpc>
                    <a:spcPct val="125000"/>
                  </a:lnSpc>
                  <a:buFont typeface="+mj-lt"/>
                  <a:buAutoNum type="alphaLcParenR"/>
                </a:pPr>
                <a:endParaRPr lang="en-US" sz="1200" dirty="0"/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endParaRPr lang="en-DE" sz="1500" dirty="0"/>
              </a:p>
            </p:txBody>
          </p:sp>
        </mc:Choice>
        <mc:Fallback xmlns="">
          <p:sp>
            <p:nvSpPr>
              <p:cNvPr id="16" name="Content Placeholder 2">
                <a:extLst>
                  <a:ext uri="{FF2B5EF4-FFF2-40B4-BE49-F238E27FC236}">
                    <a16:creationId xmlns:a16="http://schemas.microsoft.com/office/drawing/2014/main" id="{2D8B4533-EFCF-B987-1E09-BE27CF4D839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441033" y="4369668"/>
                <a:ext cx="8928992" cy="1619897"/>
              </a:xfrm>
              <a:prstGeom prst="rect">
                <a:avLst/>
              </a:prstGeom>
              <a:blipFill>
                <a:blip r:embed="rId2"/>
                <a:stretch>
                  <a:fillRect l="-1024" t="-1880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3379DEE7-FB57-C60C-A33B-27D15882E962}"/>
                  </a:ext>
                </a:extLst>
              </p:cNvPr>
              <p:cNvSpPr txBox="1"/>
              <p:nvPr/>
            </p:nvSpPr>
            <p:spPr>
              <a:xfrm>
                <a:off x="462137" y="3912407"/>
                <a:ext cx="4299174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28600" indent="-228600" algn="ctr">
                  <a:buFont typeface="+mj-lt"/>
                  <a:buAutoNum type="alphaLcParenR"/>
                </a:pPr>
                <a:r>
                  <a:rPr lang="en-GB" sz="800" b="1" dirty="0">
                    <a:latin typeface="+mn-lt"/>
                  </a:rPr>
                  <a:t>1</a:t>
                </a:r>
                <a:r>
                  <a:rPr lang="en-GB" sz="800" b="1" baseline="30000" dirty="0">
                    <a:latin typeface="+mn-lt"/>
                  </a:rPr>
                  <a:t>st</a:t>
                </a:r>
                <a:r>
                  <a:rPr lang="en-GB" sz="800" b="1" dirty="0">
                    <a:latin typeface="+mn-lt"/>
                  </a:rPr>
                  <a:t> Bending Mode – Lift (top) and Moment (bottom) force variation:</a:t>
                </a:r>
              </a:p>
              <a:p>
                <a:pPr algn="ctr"/>
                <a:r>
                  <a:rPr lang="en-GB" sz="800" b="1" dirty="0">
                    <a:latin typeface="+mn-lt"/>
                  </a:rPr>
                  <a:t>Magnitude (left) and phase (right) representation;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sz="800" b="1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800" b="1" i="1" dirty="0" smtClean="0">
                            <a:latin typeface="Cambria Math" panose="02040503050406030204" pitchFamily="18" charset="0"/>
                          </a:rPr>
                          <m:t>𝑪</m:t>
                        </m:r>
                      </m:e>
                      <m:sub>
                        <m:r>
                          <a:rPr lang="en-US" sz="800" b="1" i="1" dirty="0" smtClean="0">
                            <a:latin typeface="Cambria Math" panose="02040503050406030204" pitchFamily="18" charset="0"/>
                          </a:rPr>
                          <m:t>𝑻</m:t>
                        </m:r>
                      </m:sub>
                    </m:sSub>
                    <m:r>
                      <a:rPr lang="en-US" sz="800" b="1" i="1" dirty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800" b="1" i="1" dirty="0" smtClean="0">
                        <a:latin typeface="Cambria Math" panose="02040503050406030204" pitchFamily="18" charset="0"/>
                      </a:rPr>
                      <m:t>𝟎</m:t>
                    </m:r>
                    <m:r>
                      <a:rPr lang="en-US" sz="800" b="1" i="1" dirty="0" smtClean="0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800" b="1" i="1" dirty="0" smtClean="0">
                        <a:latin typeface="Cambria Math" panose="02040503050406030204" pitchFamily="18" charset="0"/>
                      </a:rPr>
                      <m:t>𝟏</m:t>
                    </m:r>
                  </m:oMath>
                </a14:m>
                <a:r>
                  <a:rPr lang="en-GB" sz="800" b="1" dirty="0">
                    <a:latin typeface="+mn-lt"/>
                  </a:rPr>
                  <a:t>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sz="8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800" b="1" i="1" smtClean="0">
                            <a:latin typeface="Cambria Math" panose="02040503050406030204" pitchFamily="18" charset="0"/>
                          </a:rPr>
                          <m:t>𝒂𝒎𝒑</m:t>
                        </m:r>
                      </m:e>
                      <m:sub>
                        <m:r>
                          <a:rPr lang="en-US" sz="800" b="1" i="1" smtClean="0">
                            <a:latin typeface="Cambria Math" panose="02040503050406030204" pitchFamily="18" charset="0"/>
                          </a:rPr>
                          <m:t>𝑴𝒂𝒙</m:t>
                        </m:r>
                      </m:sub>
                    </m:sSub>
                    <m:r>
                      <a:rPr lang="en-US" sz="800" b="1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800" b="1" i="1" smtClean="0">
                        <a:latin typeface="Cambria Math" panose="02040503050406030204" pitchFamily="18" charset="0"/>
                      </a:rPr>
                      <m:t>𝟎</m:t>
                    </m:r>
                    <m:r>
                      <a:rPr lang="en-US" sz="800" b="1" i="1" smtClean="0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800" b="1" i="1" smtClean="0">
                        <a:latin typeface="Cambria Math" panose="02040503050406030204" pitchFamily="18" charset="0"/>
                      </a:rPr>
                      <m:t>𝟏</m:t>
                    </m:r>
                  </m:oMath>
                </a14:m>
                <a:endParaRPr lang="en-GB" sz="800" b="1" dirty="0">
                  <a:latin typeface="+mn-lt"/>
                </a:endParaRP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3379DEE7-FB57-C60C-A33B-27D15882E96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2137" y="3912407"/>
                <a:ext cx="4299174" cy="338554"/>
              </a:xfrm>
              <a:prstGeom prst="rect">
                <a:avLst/>
              </a:prstGeom>
              <a:blipFill>
                <a:blip r:embed="rId3"/>
                <a:stretch>
                  <a:fillRect b="-5455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2B6D0ABC-8DF9-F368-9A21-506E62BC29C1}"/>
                  </a:ext>
                </a:extLst>
              </p:cNvPr>
              <p:cNvSpPr txBox="1"/>
              <p:nvPr/>
            </p:nvSpPr>
            <p:spPr>
              <a:xfrm>
                <a:off x="5080000" y="3912407"/>
                <a:ext cx="438493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28600" indent="-228600" algn="ctr">
                  <a:buFont typeface="+mj-lt"/>
                  <a:buAutoNum type="alphaLcParenR" startAt="2"/>
                </a:pPr>
                <a:r>
                  <a:rPr lang="en-GB" sz="800" b="1" dirty="0">
                    <a:latin typeface="+mn-lt"/>
                  </a:rPr>
                  <a:t>1</a:t>
                </a:r>
                <a:r>
                  <a:rPr lang="en-GB" sz="800" b="1" baseline="30000" dirty="0">
                    <a:latin typeface="+mn-lt"/>
                  </a:rPr>
                  <a:t>st</a:t>
                </a:r>
                <a:r>
                  <a:rPr lang="en-GB" sz="800" b="1" dirty="0">
                    <a:latin typeface="+mn-lt"/>
                  </a:rPr>
                  <a:t> Torsional Mode – Lift (top) and Moment (bottom) force variation:</a:t>
                </a:r>
              </a:p>
              <a:p>
                <a:pPr algn="ctr"/>
                <a:r>
                  <a:rPr lang="en-GB" sz="800" b="1" dirty="0">
                    <a:latin typeface="+mn-lt"/>
                  </a:rPr>
                  <a:t>Magnitude (left) and phase (right) representation;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sz="800" b="1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800" b="1" i="1" dirty="0" smtClean="0">
                            <a:latin typeface="Cambria Math" panose="02040503050406030204" pitchFamily="18" charset="0"/>
                          </a:rPr>
                          <m:t>𝑪</m:t>
                        </m:r>
                      </m:e>
                      <m:sub>
                        <m:r>
                          <a:rPr lang="en-US" sz="800" b="1" i="1" dirty="0" smtClean="0">
                            <a:latin typeface="Cambria Math" panose="02040503050406030204" pitchFamily="18" charset="0"/>
                          </a:rPr>
                          <m:t>𝑻</m:t>
                        </m:r>
                      </m:sub>
                    </m:sSub>
                    <m:r>
                      <a:rPr lang="en-US" sz="800" b="1" i="1" dirty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800" b="1" i="1" dirty="0" smtClean="0">
                        <a:latin typeface="Cambria Math" panose="02040503050406030204" pitchFamily="18" charset="0"/>
                      </a:rPr>
                      <m:t>𝟎</m:t>
                    </m:r>
                    <m:r>
                      <a:rPr lang="en-US" sz="800" b="1" i="1" dirty="0" smtClean="0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800" b="1" i="1" dirty="0" smtClean="0">
                        <a:latin typeface="Cambria Math" panose="02040503050406030204" pitchFamily="18" charset="0"/>
                      </a:rPr>
                      <m:t>𝟏</m:t>
                    </m:r>
                  </m:oMath>
                </a14:m>
                <a:r>
                  <a:rPr lang="en-GB" sz="800" b="1" dirty="0">
                    <a:latin typeface="+mn-lt"/>
                  </a:rPr>
                  <a:t>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sz="800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800" b="1" i="1">
                            <a:latin typeface="Cambria Math" panose="02040503050406030204" pitchFamily="18" charset="0"/>
                          </a:rPr>
                          <m:t>𝒂𝒎𝒑</m:t>
                        </m:r>
                      </m:e>
                      <m:sub>
                        <m:r>
                          <a:rPr lang="en-US" sz="800" b="1" i="1">
                            <a:latin typeface="Cambria Math" panose="02040503050406030204" pitchFamily="18" charset="0"/>
                          </a:rPr>
                          <m:t>𝑴𝒂𝒙</m:t>
                        </m:r>
                      </m:sub>
                    </m:sSub>
                    <m:r>
                      <a:rPr lang="en-US" sz="800" b="1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800" b="1" i="1">
                        <a:latin typeface="Cambria Math" panose="02040503050406030204" pitchFamily="18" charset="0"/>
                      </a:rPr>
                      <m:t>𝟎</m:t>
                    </m:r>
                    <m:r>
                      <a:rPr lang="en-US" sz="800" b="1" i="1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800" b="1" i="1">
                        <a:latin typeface="Cambria Math" panose="02040503050406030204" pitchFamily="18" charset="0"/>
                      </a:rPr>
                      <m:t>𝟏</m:t>
                    </m:r>
                  </m:oMath>
                </a14:m>
                <a:endParaRPr lang="en-GB" sz="800" b="1" dirty="0">
                  <a:latin typeface="+mn-lt"/>
                </a:endParaRPr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2B6D0ABC-8DF9-F368-9A21-506E62BC29C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80000" y="3912407"/>
                <a:ext cx="4384937" cy="338554"/>
              </a:xfrm>
              <a:prstGeom prst="rect">
                <a:avLst/>
              </a:prstGeom>
              <a:blipFill>
                <a:blip r:embed="rId4"/>
                <a:stretch>
                  <a:fillRect b="-5455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Picture 4">
            <a:extLst>
              <a:ext uri="{FF2B5EF4-FFF2-40B4-BE49-F238E27FC236}">
                <a16:creationId xmlns:a16="http://schemas.microsoft.com/office/drawing/2014/main" id="{34FE048A-7163-9097-00F1-4DD3A6A0F845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826" r="4842" b="1710"/>
          <a:stretch/>
        </p:blipFill>
        <p:spPr>
          <a:xfrm>
            <a:off x="441033" y="1046789"/>
            <a:ext cx="4255943" cy="286561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C632716-1D4C-2D93-CEC8-A26F5476B072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1631" r="5037" b="1710"/>
          <a:stretch/>
        </p:blipFill>
        <p:spPr>
          <a:xfrm>
            <a:off x="5028889" y="1022950"/>
            <a:ext cx="4255943" cy="286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18750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71BDB3-40C2-31FA-6BF0-C9CC242204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350" y="337220"/>
            <a:ext cx="8960000" cy="385252"/>
          </a:xfrm>
        </p:spPr>
        <p:txBody>
          <a:bodyPr/>
          <a:lstStyle/>
          <a:p>
            <a:r>
              <a:rPr lang="en-GB" dirty="0"/>
              <a:t>Conclusions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0EE8C0DE-E93D-AEBE-F582-BA4689582C6C}"/>
              </a:ext>
            </a:extLst>
          </p:cNvPr>
          <p:cNvSpPr/>
          <p:nvPr/>
        </p:nvSpPr>
        <p:spPr>
          <a:xfrm>
            <a:off x="318593" y="1128713"/>
            <a:ext cx="2843702" cy="4152900"/>
          </a:xfrm>
          <a:custGeom>
            <a:avLst/>
            <a:gdLst>
              <a:gd name="connsiteX0" fmla="*/ 0 w 2843702"/>
              <a:gd name="connsiteY0" fmla="*/ 284370 h 4152900"/>
              <a:gd name="connsiteX1" fmla="*/ 284370 w 2843702"/>
              <a:gd name="connsiteY1" fmla="*/ 0 h 4152900"/>
              <a:gd name="connsiteX2" fmla="*/ 2559332 w 2843702"/>
              <a:gd name="connsiteY2" fmla="*/ 0 h 4152900"/>
              <a:gd name="connsiteX3" fmla="*/ 2843702 w 2843702"/>
              <a:gd name="connsiteY3" fmla="*/ 284370 h 4152900"/>
              <a:gd name="connsiteX4" fmla="*/ 2843702 w 2843702"/>
              <a:gd name="connsiteY4" fmla="*/ 3868530 h 4152900"/>
              <a:gd name="connsiteX5" fmla="*/ 2559332 w 2843702"/>
              <a:gd name="connsiteY5" fmla="*/ 4152900 h 4152900"/>
              <a:gd name="connsiteX6" fmla="*/ 284370 w 2843702"/>
              <a:gd name="connsiteY6" fmla="*/ 4152900 h 4152900"/>
              <a:gd name="connsiteX7" fmla="*/ 0 w 2843702"/>
              <a:gd name="connsiteY7" fmla="*/ 3868530 h 4152900"/>
              <a:gd name="connsiteX8" fmla="*/ 0 w 2843702"/>
              <a:gd name="connsiteY8" fmla="*/ 284370 h 415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43702" h="4152900">
                <a:moveTo>
                  <a:pt x="0" y="284370"/>
                </a:moveTo>
                <a:cubicBezTo>
                  <a:pt x="0" y="127317"/>
                  <a:pt x="127317" y="0"/>
                  <a:pt x="284370" y="0"/>
                </a:cubicBezTo>
                <a:lnTo>
                  <a:pt x="2559332" y="0"/>
                </a:lnTo>
                <a:cubicBezTo>
                  <a:pt x="2716385" y="0"/>
                  <a:pt x="2843702" y="127317"/>
                  <a:pt x="2843702" y="284370"/>
                </a:cubicBezTo>
                <a:lnTo>
                  <a:pt x="2843702" y="3868530"/>
                </a:lnTo>
                <a:cubicBezTo>
                  <a:pt x="2843702" y="4025583"/>
                  <a:pt x="2716385" y="4152900"/>
                  <a:pt x="2559332" y="4152900"/>
                </a:cubicBezTo>
                <a:lnTo>
                  <a:pt x="284370" y="4152900"/>
                </a:lnTo>
                <a:cubicBezTo>
                  <a:pt x="127317" y="4152900"/>
                  <a:pt x="0" y="4025583"/>
                  <a:pt x="0" y="3868530"/>
                </a:cubicBezTo>
                <a:lnTo>
                  <a:pt x="0" y="284370"/>
                </a:lnTo>
                <a:close/>
              </a:path>
            </a:pathLst>
          </a:custGeom>
        </p:spPr>
        <p:style>
          <a:lnRef idx="0">
            <a:schemeClr val="accent3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40000"/>
              <a:hueOff val="0"/>
              <a:satOff val="0"/>
              <a:lumOff val="0"/>
              <a:alphaOff val="0"/>
            </a:schemeClr>
          </a:fillRef>
          <a:effectRef idx="2">
            <a:schemeClr val="accent3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0960" tIns="60960" rIns="60960" bIns="2967990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1600" b="0" kern="1200" dirty="0"/>
              <a:t>Pitching/Plunging Wing with Rigidly Attached Propeller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7B948988-E52E-3CBB-789B-97576EE0D6ED}"/>
              </a:ext>
            </a:extLst>
          </p:cNvPr>
          <p:cNvSpPr/>
          <p:nvPr/>
        </p:nvSpPr>
        <p:spPr>
          <a:xfrm>
            <a:off x="602963" y="2374684"/>
            <a:ext cx="2274961" cy="604989"/>
          </a:xfrm>
          <a:custGeom>
            <a:avLst/>
            <a:gdLst>
              <a:gd name="connsiteX0" fmla="*/ 0 w 2274961"/>
              <a:gd name="connsiteY0" fmla="*/ 60499 h 604989"/>
              <a:gd name="connsiteX1" fmla="*/ 60499 w 2274961"/>
              <a:gd name="connsiteY1" fmla="*/ 0 h 604989"/>
              <a:gd name="connsiteX2" fmla="*/ 2214462 w 2274961"/>
              <a:gd name="connsiteY2" fmla="*/ 0 h 604989"/>
              <a:gd name="connsiteX3" fmla="*/ 2274961 w 2274961"/>
              <a:gd name="connsiteY3" fmla="*/ 60499 h 604989"/>
              <a:gd name="connsiteX4" fmla="*/ 2274961 w 2274961"/>
              <a:gd name="connsiteY4" fmla="*/ 544490 h 604989"/>
              <a:gd name="connsiteX5" fmla="*/ 2214462 w 2274961"/>
              <a:gd name="connsiteY5" fmla="*/ 604989 h 604989"/>
              <a:gd name="connsiteX6" fmla="*/ 60499 w 2274961"/>
              <a:gd name="connsiteY6" fmla="*/ 604989 h 604989"/>
              <a:gd name="connsiteX7" fmla="*/ 0 w 2274961"/>
              <a:gd name="connsiteY7" fmla="*/ 544490 h 604989"/>
              <a:gd name="connsiteX8" fmla="*/ 0 w 2274961"/>
              <a:gd name="connsiteY8" fmla="*/ 60499 h 604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74961" h="604989">
                <a:moveTo>
                  <a:pt x="0" y="60499"/>
                </a:moveTo>
                <a:cubicBezTo>
                  <a:pt x="0" y="27086"/>
                  <a:pt x="27086" y="0"/>
                  <a:pt x="60499" y="0"/>
                </a:cubicBezTo>
                <a:lnTo>
                  <a:pt x="2214462" y="0"/>
                </a:lnTo>
                <a:cubicBezTo>
                  <a:pt x="2247875" y="0"/>
                  <a:pt x="2274961" y="27086"/>
                  <a:pt x="2274961" y="60499"/>
                </a:cubicBezTo>
                <a:lnTo>
                  <a:pt x="2274961" y="544490"/>
                </a:lnTo>
                <a:cubicBezTo>
                  <a:pt x="2274961" y="577903"/>
                  <a:pt x="2247875" y="604989"/>
                  <a:pt x="2214462" y="604989"/>
                </a:cubicBezTo>
                <a:lnTo>
                  <a:pt x="60499" y="604989"/>
                </a:lnTo>
                <a:cubicBezTo>
                  <a:pt x="27086" y="604989"/>
                  <a:pt x="0" y="577903"/>
                  <a:pt x="0" y="544490"/>
                </a:cubicBezTo>
                <a:lnTo>
                  <a:pt x="0" y="604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hueOff val="0"/>
              <a:satOff val="0"/>
              <a:lumOff val="0"/>
              <a:alphaOff val="0"/>
            </a:schemeClr>
          </a:fillRef>
          <a:effectRef idx="2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3120" tIns="36770" rIns="43120" bIns="36770" numCol="1" spcCol="1270" anchor="ctr" anchorCtr="0">
            <a:noAutofit/>
          </a:bodyPr>
          <a:lstStyle/>
          <a:p>
            <a:pPr marL="0" lvl="0" indent="0" algn="ctr" defTabSz="46228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1040" kern="1200" dirty="0"/>
              <a:t>Propeller influences the magnitude and phase shift of lift and moment forces, but not overall system behaviour 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6DEC590-0630-2B9A-CD6E-EF1D3E4045B4}"/>
              </a:ext>
            </a:extLst>
          </p:cNvPr>
          <p:cNvSpPr/>
          <p:nvPr/>
        </p:nvSpPr>
        <p:spPr>
          <a:xfrm>
            <a:off x="602963" y="3072748"/>
            <a:ext cx="2274961" cy="604989"/>
          </a:xfrm>
          <a:custGeom>
            <a:avLst/>
            <a:gdLst>
              <a:gd name="connsiteX0" fmla="*/ 0 w 2274961"/>
              <a:gd name="connsiteY0" fmla="*/ 60499 h 604989"/>
              <a:gd name="connsiteX1" fmla="*/ 60499 w 2274961"/>
              <a:gd name="connsiteY1" fmla="*/ 0 h 604989"/>
              <a:gd name="connsiteX2" fmla="*/ 2214462 w 2274961"/>
              <a:gd name="connsiteY2" fmla="*/ 0 h 604989"/>
              <a:gd name="connsiteX3" fmla="*/ 2274961 w 2274961"/>
              <a:gd name="connsiteY3" fmla="*/ 60499 h 604989"/>
              <a:gd name="connsiteX4" fmla="*/ 2274961 w 2274961"/>
              <a:gd name="connsiteY4" fmla="*/ 544490 h 604989"/>
              <a:gd name="connsiteX5" fmla="*/ 2214462 w 2274961"/>
              <a:gd name="connsiteY5" fmla="*/ 604989 h 604989"/>
              <a:gd name="connsiteX6" fmla="*/ 60499 w 2274961"/>
              <a:gd name="connsiteY6" fmla="*/ 604989 h 604989"/>
              <a:gd name="connsiteX7" fmla="*/ 0 w 2274961"/>
              <a:gd name="connsiteY7" fmla="*/ 544490 h 604989"/>
              <a:gd name="connsiteX8" fmla="*/ 0 w 2274961"/>
              <a:gd name="connsiteY8" fmla="*/ 60499 h 604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74961" h="604989">
                <a:moveTo>
                  <a:pt x="0" y="60499"/>
                </a:moveTo>
                <a:cubicBezTo>
                  <a:pt x="0" y="27086"/>
                  <a:pt x="27086" y="0"/>
                  <a:pt x="60499" y="0"/>
                </a:cubicBezTo>
                <a:lnTo>
                  <a:pt x="2214462" y="0"/>
                </a:lnTo>
                <a:cubicBezTo>
                  <a:pt x="2247875" y="0"/>
                  <a:pt x="2274961" y="27086"/>
                  <a:pt x="2274961" y="60499"/>
                </a:cubicBezTo>
                <a:lnTo>
                  <a:pt x="2274961" y="544490"/>
                </a:lnTo>
                <a:cubicBezTo>
                  <a:pt x="2274961" y="577903"/>
                  <a:pt x="2247875" y="604989"/>
                  <a:pt x="2214462" y="604989"/>
                </a:cubicBezTo>
                <a:lnTo>
                  <a:pt x="60499" y="604989"/>
                </a:lnTo>
                <a:cubicBezTo>
                  <a:pt x="27086" y="604989"/>
                  <a:pt x="0" y="577903"/>
                  <a:pt x="0" y="544490"/>
                </a:cubicBezTo>
                <a:lnTo>
                  <a:pt x="0" y="604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hueOff val="0"/>
              <a:satOff val="0"/>
              <a:lumOff val="0"/>
              <a:alphaOff val="0"/>
            </a:schemeClr>
          </a:fillRef>
          <a:effectRef idx="2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3120" tIns="36770" rIns="43120" bIns="36770" numCol="1" spcCol="1270" anchor="ctr" anchorCtr="0">
            <a:noAutofit/>
          </a:bodyPr>
          <a:lstStyle/>
          <a:p>
            <a:pPr marL="0" lvl="0" indent="0" algn="ctr" defTabSz="46228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1040" kern="1200" dirty="0"/>
              <a:t>Thrusting propeller increases lift and moment force coefficients, with minor phase shift varia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FF5BF53-64B9-DF9A-28C9-ED908F588779}"/>
                  </a:ext>
                </a:extLst>
              </p:cNvPr>
              <p:cNvSpPr/>
              <p:nvPr/>
            </p:nvSpPr>
            <p:spPr>
              <a:xfrm>
                <a:off x="602963" y="3770813"/>
                <a:ext cx="2274961" cy="604989"/>
              </a:xfrm>
              <a:custGeom>
                <a:avLst/>
                <a:gdLst>
                  <a:gd name="connsiteX0" fmla="*/ 0 w 2274961"/>
                  <a:gd name="connsiteY0" fmla="*/ 60499 h 604989"/>
                  <a:gd name="connsiteX1" fmla="*/ 60499 w 2274961"/>
                  <a:gd name="connsiteY1" fmla="*/ 0 h 604989"/>
                  <a:gd name="connsiteX2" fmla="*/ 2214462 w 2274961"/>
                  <a:gd name="connsiteY2" fmla="*/ 0 h 604989"/>
                  <a:gd name="connsiteX3" fmla="*/ 2274961 w 2274961"/>
                  <a:gd name="connsiteY3" fmla="*/ 60499 h 604989"/>
                  <a:gd name="connsiteX4" fmla="*/ 2274961 w 2274961"/>
                  <a:gd name="connsiteY4" fmla="*/ 544490 h 604989"/>
                  <a:gd name="connsiteX5" fmla="*/ 2214462 w 2274961"/>
                  <a:gd name="connsiteY5" fmla="*/ 604989 h 604989"/>
                  <a:gd name="connsiteX6" fmla="*/ 60499 w 2274961"/>
                  <a:gd name="connsiteY6" fmla="*/ 604989 h 604989"/>
                  <a:gd name="connsiteX7" fmla="*/ 0 w 2274961"/>
                  <a:gd name="connsiteY7" fmla="*/ 544490 h 604989"/>
                  <a:gd name="connsiteX8" fmla="*/ 0 w 2274961"/>
                  <a:gd name="connsiteY8" fmla="*/ 60499 h 604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74961" h="604989">
                    <a:moveTo>
                      <a:pt x="0" y="60499"/>
                    </a:moveTo>
                    <a:cubicBezTo>
                      <a:pt x="0" y="27086"/>
                      <a:pt x="27086" y="0"/>
                      <a:pt x="60499" y="0"/>
                    </a:cubicBezTo>
                    <a:lnTo>
                      <a:pt x="2214462" y="0"/>
                    </a:lnTo>
                    <a:cubicBezTo>
                      <a:pt x="2247875" y="0"/>
                      <a:pt x="2274961" y="27086"/>
                      <a:pt x="2274961" y="60499"/>
                    </a:cubicBezTo>
                    <a:lnTo>
                      <a:pt x="2274961" y="544490"/>
                    </a:lnTo>
                    <a:cubicBezTo>
                      <a:pt x="2274961" y="577903"/>
                      <a:pt x="2247875" y="604989"/>
                      <a:pt x="2214462" y="604989"/>
                    </a:cubicBezTo>
                    <a:lnTo>
                      <a:pt x="60499" y="604989"/>
                    </a:lnTo>
                    <a:cubicBezTo>
                      <a:pt x="27086" y="604989"/>
                      <a:pt x="0" y="577903"/>
                      <a:pt x="0" y="544490"/>
                    </a:cubicBezTo>
                    <a:lnTo>
                      <a:pt x="0" y="60499"/>
                    </a:lnTo>
                    <a:close/>
                  </a:path>
                </a:pathLst>
              </a:custGeom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3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3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43120" tIns="36770" rIns="43120" bIns="36770" numCol="1" spcCol="1270" anchor="ctr" anchorCtr="0">
                <a:noAutofit/>
              </a:bodyPr>
              <a:lstStyle/>
              <a:p>
                <a:pPr marL="0" lvl="0" indent="0" algn="ctr" defTabSz="46228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GB" sz="1040" kern="1200" dirty="0"/>
                  <a:t>Resonance-like behaviour occurs at a certain reduced frequency (</a:t>
                </a:r>
                <a14:m>
                  <m:oMath xmlns:m="http://schemas.openxmlformats.org/officeDocument/2006/math">
                    <m:r>
                      <a:rPr lang="en-US" sz="1040" b="0" i="1" kern="1200" smtClean="0">
                        <a:latin typeface="Cambria Math" panose="02040503050406030204" pitchFamily="18" charset="0"/>
                      </a:rPr>
                      <m:t>𝑘</m:t>
                    </m:r>
                  </m:oMath>
                </a14:m>
                <a:r>
                  <a:rPr lang="en-GB" sz="1040" kern="1200" dirty="0"/>
                  <a:t>), maximising the propeller’s influence on wing forces</a:t>
                </a:r>
              </a:p>
            </p:txBody>
          </p:sp>
        </mc:Choice>
        <mc:Fallback xmlns=""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FF5BF53-64B9-DF9A-28C9-ED908F58877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2963" y="3770813"/>
                <a:ext cx="2274961" cy="604989"/>
              </a:xfrm>
              <a:custGeom>
                <a:avLst/>
                <a:gdLst>
                  <a:gd name="connsiteX0" fmla="*/ 0 w 2274961"/>
                  <a:gd name="connsiteY0" fmla="*/ 60499 h 604989"/>
                  <a:gd name="connsiteX1" fmla="*/ 60499 w 2274961"/>
                  <a:gd name="connsiteY1" fmla="*/ 0 h 604989"/>
                  <a:gd name="connsiteX2" fmla="*/ 2214462 w 2274961"/>
                  <a:gd name="connsiteY2" fmla="*/ 0 h 604989"/>
                  <a:gd name="connsiteX3" fmla="*/ 2274961 w 2274961"/>
                  <a:gd name="connsiteY3" fmla="*/ 60499 h 604989"/>
                  <a:gd name="connsiteX4" fmla="*/ 2274961 w 2274961"/>
                  <a:gd name="connsiteY4" fmla="*/ 544490 h 604989"/>
                  <a:gd name="connsiteX5" fmla="*/ 2214462 w 2274961"/>
                  <a:gd name="connsiteY5" fmla="*/ 604989 h 604989"/>
                  <a:gd name="connsiteX6" fmla="*/ 60499 w 2274961"/>
                  <a:gd name="connsiteY6" fmla="*/ 604989 h 604989"/>
                  <a:gd name="connsiteX7" fmla="*/ 0 w 2274961"/>
                  <a:gd name="connsiteY7" fmla="*/ 544490 h 604989"/>
                  <a:gd name="connsiteX8" fmla="*/ 0 w 2274961"/>
                  <a:gd name="connsiteY8" fmla="*/ 60499 h 604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74961" h="604989">
                    <a:moveTo>
                      <a:pt x="0" y="60499"/>
                    </a:moveTo>
                    <a:cubicBezTo>
                      <a:pt x="0" y="27086"/>
                      <a:pt x="27086" y="0"/>
                      <a:pt x="60499" y="0"/>
                    </a:cubicBezTo>
                    <a:lnTo>
                      <a:pt x="2214462" y="0"/>
                    </a:lnTo>
                    <a:cubicBezTo>
                      <a:pt x="2247875" y="0"/>
                      <a:pt x="2274961" y="27086"/>
                      <a:pt x="2274961" y="60499"/>
                    </a:cubicBezTo>
                    <a:lnTo>
                      <a:pt x="2274961" y="544490"/>
                    </a:lnTo>
                    <a:cubicBezTo>
                      <a:pt x="2274961" y="577903"/>
                      <a:pt x="2247875" y="604989"/>
                      <a:pt x="2214462" y="604989"/>
                    </a:cubicBezTo>
                    <a:lnTo>
                      <a:pt x="60499" y="604989"/>
                    </a:lnTo>
                    <a:cubicBezTo>
                      <a:pt x="27086" y="604989"/>
                      <a:pt x="0" y="577903"/>
                      <a:pt x="0" y="544490"/>
                    </a:cubicBezTo>
                    <a:lnTo>
                      <a:pt x="0" y="60499"/>
                    </a:lnTo>
                    <a:close/>
                  </a:path>
                </a:pathLst>
              </a:cu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68AD65B4-BF19-FE9E-4479-1E0A852AC2AF}"/>
              </a:ext>
            </a:extLst>
          </p:cNvPr>
          <p:cNvSpPr/>
          <p:nvPr/>
        </p:nvSpPr>
        <p:spPr>
          <a:xfrm>
            <a:off x="602963" y="4468877"/>
            <a:ext cx="2274961" cy="604989"/>
          </a:xfrm>
          <a:custGeom>
            <a:avLst/>
            <a:gdLst>
              <a:gd name="connsiteX0" fmla="*/ 0 w 2274961"/>
              <a:gd name="connsiteY0" fmla="*/ 60499 h 604989"/>
              <a:gd name="connsiteX1" fmla="*/ 60499 w 2274961"/>
              <a:gd name="connsiteY1" fmla="*/ 0 h 604989"/>
              <a:gd name="connsiteX2" fmla="*/ 2214462 w 2274961"/>
              <a:gd name="connsiteY2" fmla="*/ 0 h 604989"/>
              <a:gd name="connsiteX3" fmla="*/ 2274961 w 2274961"/>
              <a:gd name="connsiteY3" fmla="*/ 60499 h 604989"/>
              <a:gd name="connsiteX4" fmla="*/ 2274961 w 2274961"/>
              <a:gd name="connsiteY4" fmla="*/ 544490 h 604989"/>
              <a:gd name="connsiteX5" fmla="*/ 2214462 w 2274961"/>
              <a:gd name="connsiteY5" fmla="*/ 604989 h 604989"/>
              <a:gd name="connsiteX6" fmla="*/ 60499 w 2274961"/>
              <a:gd name="connsiteY6" fmla="*/ 604989 h 604989"/>
              <a:gd name="connsiteX7" fmla="*/ 0 w 2274961"/>
              <a:gd name="connsiteY7" fmla="*/ 544490 h 604989"/>
              <a:gd name="connsiteX8" fmla="*/ 0 w 2274961"/>
              <a:gd name="connsiteY8" fmla="*/ 60499 h 604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74961" h="604989">
                <a:moveTo>
                  <a:pt x="0" y="60499"/>
                </a:moveTo>
                <a:cubicBezTo>
                  <a:pt x="0" y="27086"/>
                  <a:pt x="27086" y="0"/>
                  <a:pt x="60499" y="0"/>
                </a:cubicBezTo>
                <a:lnTo>
                  <a:pt x="2214462" y="0"/>
                </a:lnTo>
                <a:cubicBezTo>
                  <a:pt x="2247875" y="0"/>
                  <a:pt x="2274961" y="27086"/>
                  <a:pt x="2274961" y="60499"/>
                </a:cubicBezTo>
                <a:lnTo>
                  <a:pt x="2274961" y="544490"/>
                </a:lnTo>
                <a:cubicBezTo>
                  <a:pt x="2274961" y="577903"/>
                  <a:pt x="2247875" y="604989"/>
                  <a:pt x="2214462" y="604989"/>
                </a:cubicBezTo>
                <a:lnTo>
                  <a:pt x="60499" y="604989"/>
                </a:lnTo>
                <a:cubicBezTo>
                  <a:pt x="27086" y="604989"/>
                  <a:pt x="0" y="577903"/>
                  <a:pt x="0" y="544490"/>
                </a:cubicBezTo>
                <a:lnTo>
                  <a:pt x="0" y="604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hueOff val="0"/>
              <a:satOff val="0"/>
              <a:lumOff val="0"/>
              <a:alphaOff val="0"/>
            </a:schemeClr>
          </a:fillRef>
          <a:effectRef idx="2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3120" tIns="36770" rIns="43120" bIns="36770" numCol="1" spcCol="1270" anchor="ctr" anchorCtr="0">
            <a:noAutofit/>
          </a:bodyPr>
          <a:lstStyle/>
          <a:p>
            <a:pPr marL="0" lvl="0" indent="0" algn="ctr" defTabSz="46228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1040" kern="1200" dirty="0"/>
              <a:t>Wing forces are more sensitive to vertical motions of the propeller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342A2607-7165-D70C-F199-5EA566AF74C2}"/>
              </a:ext>
            </a:extLst>
          </p:cNvPr>
          <p:cNvSpPr/>
          <p:nvPr/>
        </p:nvSpPr>
        <p:spPr>
          <a:xfrm>
            <a:off x="3375573" y="1128713"/>
            <a:ext cx="2843702" cy="4152900"/>
          </a:xfrm>
          <a:custGeom>
            <a:avLst/>
            <a:gdLst>
              <a:gd name="connsiteX0" fmla="*/ 0 w 2843702"/>
              <a:gd name="connsiteY0" fmla="*/ 284370 h 4152900"/>
              <a:gd name="connsiteX1" fmla="*/ 284370 w 2843702"/>
              <a:gd name="connsiteY1" fmla="*/ 0 h 4152900"/>
              <a:gd name="connsiteX2" fmla="*/ 2559332 w 2843702"/>
              <a:gd name="connsiteY2" fmla="*/ 0 h 4152900"/>
              <a:gd name="connsiteX3" fmla="*/ 2843702 w 2843702"/>
              <a:gd name="connsiteY3" fmla="*/ 284370 h 4152900"/>
              <a:gd name="connsiteX4" fmla="*/ 2843702 w 2843702"/>
              <a:gd name="connsiteY4" fmla="*/ 3868530 h 4152900"/>
              <a:gd name="connsiteX5" fmla="*/ 2559332 w 2843702"/>
              <a:gd name="connsiteY5" fmla="*/ 4152900 h 4152900"/>
              <a:gd name="connsiteX6" fmla="*/ 284370 w 2843702"/>
              <a:gd name="connsiteY6" fmla="*/ 4152900 h 4152900"/>
              <a:gd name="connsiteX7" fmla="*/ 0 w 2843702"/>
              <a:gd name="connsiteY7" fmla="*/ 3868530 h 4152900"/>
              <a:gd name="connsiteX8" fmla="*/ 0 w 2843702"/>
              <a:gd name="connsiteY8" fmla="*/ 284370 h 415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43702" h="4152900">
                <a:moveTo>
                  <a:pt x="0" y="284370"/>
                </a:moveTo>
                <a:cubicBezTo>
                  <a:pt x="0" y="127317"/>
                  <a:pt x="127317" y="0"/>
                  <a:pt x="284370" y="0"/>
                </a:cubicBezTo>
                <a:lnTo>
                  <a:pt x="2559332" y="0"/>
                </a:lnTo>
                <a:cubicBezTo>
                  <a:pt x="2716385" y="0"/>
                  <a:pt x="2843702" y="127317"/>
                  <a:pt x="2843702" y="284370"/>
                </a:cubicBezTo>
                <a:lnTo>
                  <a:pt x="2843702" y="3868530"/>
                </a:lnTo>
                <a:cubicBezTo>
                  <a:pt x="2843702" y="4025583"/>
                  <a:pt x="2716385" y="4152900"/>
                  <a:pt x="2559332" y="4152900"/>
                </a:cubicBezTo>
                <a:lnTo>
                  <a:pt x="284370" y="4152900"/>
                </a:lnTo>
                <a:cubicBezTo>
                  <a:pt x="127317" y="4152900"/>
                  <a:pt x="0" y="4025583"/>
                  <a:pt x="0" y="3868530"/>
                </a:cubicBezTo>
                <a:lnTo>
                  <a:pt x="0" y="284370"/>
                </a:lnTo>
                <a:close/>
              </a:path>
            </a:pathLst>
          </a:custGeom>
        </p:spPr>
        <p:style>
          <a:lnRef idx="0">
            <a:schemeClr val="accent3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40000"/>
              <a:hueOff val="0"/>
              <a:satOff val="0"/>
              <a:lumOff val="0"/>
              <a:alphaOff val="0"/>
            </a:schemeClr>
          </a:fillRef>
          <a:effectRef idx="2">
            <a:schemeClr val="accent3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0960" tIns="60960" rIns="60960" bIns="2967990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1600" b="0" kern="1200" dirty="0"/>
              <a:t>Pitching/Plunging Wing with Flexibly Attached Propeller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E6E26B4E-9C54-C903-7000-A72EBF8E69CE}"/>
              </a:ext>
            </a:extLst>
          </p:cNvPr>
          <p:cNvSpPr/>
          <p:nvPr/>
        </p:nvSpPr>
        <p:spPr>
          <a:xfrm>
            <a:off x="3659944" y="2374684"/>
            <a:ext cx="2274961" cy="604989"/>
          </a:xfrm>
          <a:custGeom>
            <a:avLst/>
            <a:gdLst>
              <a:gd name="connsiteX0" fmla="*/ 0 w 2274961"/>
              <a:gd name="connsiteY0" fmla="*/ 60499 h 604989"/>
              <a:gd name="connsiteX1" fmla="*/ 60499 w 2274961"/>
              <a:gd name="connsiteY1" fmla="*/ 0 h 604989"/>
              <a:gd name="connsiteX2" fmla="*/ 2214462 w 2274961"/>
              <a:gd name="connsiteY2" fmla="*/ 0 h 604989"/>
              <a:gd name="connsiteX3" fmla="*/ 2274961 w 2274961"/>
              <a:gd name="connsiteY3" fmla="*/ 60499 h 604989"/>
              <a:gd name="connsiteX4" fmla="*/ 2274961 w 2274961"/>
              <a:gd name="connsiteY4" fmla="*/ 544490 h 604989"/>
              <a:gd name="connsiteX5" fmla="*/ 2214462 w 2274961"/>
              <a:gd name="connsiteY5" fmla="*/ 604989 h 604989"/>
              <a:gd name="connsiteX6" fmla="*/ 60499 w 2274961"/>
              <a:gd name="connsiteY6" fmla="*/ 604989 h 604989"/>
              <a:gd name="connsiteX7" fmla="*/ 0 w 2274961"/>
              <a:gd name="connsiteY7" fmla="*/ 544490 h 604989"/>
              <a:gd name="connsiteX8" fmla="*/ 0 w 2274961"/>
              <a:gd name="connsiteY8" fmla="*/ 60499 h 604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74961" h="604989">
                <a:moveTo>
                  <a:pt x="0" y="60499"/>
                </a:moveTo>
                <a:cubicBezTo>
                  <a:pt x="0" y="27086"/>
                  <a:pt x="27086" y="0"/>
                  <a:pt x="60499" y="0"/>
                </a:cubicBezTo>
                <a:lnTo>
                  <a:pt x="2214462" y="0"/>
                </a:lnTo>
                <a:cubicBezTo>
                  <a:pt x="2247875" y="0"/>
                  <a:pt x="2274961" y="27086"/>
                  <a:pt x="2274961" y="60499"/>
                </a:cubicBezTo>
                <a:lnTo>
                  <a:pt x="2274961" y="544490"/>
                </a:lnTo>
                <a:cubicBezTo>
                  <a:pt x="2274961" y="577903"/>
                  <a:pt x="2247875" y="604989"/>
                  <a:pt x="2214462" y="604989"/>
                </a:cubicBezTo>
                <a:lnTo>
                  <a:pt x="60499" y="604989"/>
                </a:lnTo>
                <a:cubicBezTo>
                  <a:pt x="27086" y="604989"/>
                  <a:pt x="0" y="577903"/>
                  <a:pt x="0" y="544490"/>
                </a:cubicBezTo>
                <a:lnTo>
                  <a:pt x="0" y="604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hueOff val="0"/>
              <a:satOff val="0"/>
              <a:lumOff val="0"/>
              <a:alphaOff val="0"/>
            </a:schemeClr>
          </a:fillRef>
          <a:effectRef idx="2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3120" tIns="36770" rIns="43120" bIns="36770" numCol="1" spcCol="1270" anchor="ctr" anchorCtr="0">
            <a:noAutofit/>
          </a:bodyPr>
          <a:lstStyle/>
          <a:p>
            <a:pPr marL="0" lvl="0" indent="0" algn="ctr" defTabSz="46228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040" kern="1200" dirty="0"/>
              <a:t>Aerodynamic response scales with the ratio of propeller pitching amplitude to wing pitching/plunging amplitude</a:t>
            </a:r>
            <a:endParaRPr lang="en-GB" sz="1040" kern="12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40C9813D-A1CC-7C48-6F4E-F886D22C264B}"/>
                  </a:ext>
                </a:extLst>
              </p:cNvPr>
              <p:cNvSpPr/>
              <p:nvPr/>
            </p:nvSpPr>
            <p:spPr>
              <a:xfrm>
                <a:off x="3659944" y="3072748"/>
                <a:ext cx="2274961" cy="604989"/>
              </a:xfrm>
              <a:custGeom>
                <a:avLst/>
                <a:gdLst>
                  <a:gd name="connsiteX0" fmla="*/ 0 w 2274961"/>
                  <a:gd name="connsiteY0" fmla="*/ 60499 h 604989"/>
                  <a:gd name="connsiteX1" fmla="*/ 60499 w 2274961"/>
                  <a:gd name="connsiteY1" fmla="*/ 0 h 604989"/>
                  <a:gd name="connsiteX2" fmla="*/ 2214462 w 2274961"/>
                  <a:gd name="connsiteY2" fmla="*/ 0 h 604989"/>
                  <a:gd name="connsiteX3" fmla="*/ 2274961 w 2274961"/>
                  <a:gd name="connsiteY3" fmla="*/ 60499 h 604989"/>
                  <a:gd name="connsiteX4" fmla="*/ 2274961 w 2274961"/>
                  <a:gd name="connsiteY4" fmla="*/ 544490 h 604989"/>
                  <a:gd name="connsiteX5" fmla="*/ 2214462 w 2274961"/>
                  <a:gd name="connsiteY5" fmla="*/ 604989 h 604989"/>
                  <a:gd name="connsiteX6" fmla="*/ 60499 w 2274961"/>
                  <a:gd name="connsiteY6" fmla="*/ 604989 h 604989"/>
                  <a:gd name="connsiteX7" fmla="*/ 0 w 2274961"/>
                  <a:gd name="connsiteY7" fmla="*/ 544490 h 604989"/>
                  <a:gd name="connsiteX8" fmla="*/ 0 w 2274961"/>
                  <a:gd name="connsiteY8" fmla="*/ 60499 h 604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74961" h="604989">
                    <a:moveTo>
                      <a:pt x="0" y="60499"/>
                    </a:moveTo>
                    <a:cubicBezTo>
                      <a:pt x="0" y="27086"/>
                      <a:pt x="27086" y="0"/>
                      <a:pt x="60499" y="0"/>
                    </a:cubicBezTo>
                    <a:lnTo>
                      <a:pt x="2214462" y="0"/>
                    </a:lnTo>
                    <a:cubicBezTo>
                      <a:pt x="2247875" y="0"/>
                      <a:pt x="2274961" y="27086"/>
                      <a:pt x="2274961" y="60499"/>
                    </a:cubicBezTo>
                    <a:lnTo>
                      <a:pt x="2274961" y="544490"/>
                    </a:lnTo>
                    <a:cubicBezTo>
                      <a:pt x="2274961" y="577903"/>
                      <a:pt x="2247875" y="604989"/>
                      <a:pt x="2214462" y="604989"/>
                    </a:cubicBezTo>
                    <a:lnTo>
                      <a:pt x="60499" y="604989"/>
                    </a:lnTo>
                    <a:cubicBezTo>
                      <a:pt x="27086" y="604989"/>
                      <a:pt x="0" y="577903"/>
                      <a:pt x="0" y="544490"/>
                    </a:cubicBezTo>
                    <a:lnTo>
                      <a:pt x="0" y="60499"/>
                    </a:lnTo>
                    <a:close/>
                  </a:path>
                </a:pathLst>
              </a:custGeom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3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3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43120" tIns="36770" rIns="43120" bIns="36770" numCol="1" spcCol="1270" anchor="ctr" anchorCtr="0">
                <a:noAutofit/>
              </a:bodyPr>
              <a:lstStyle/>
              <a:p>
                <a:pPr marL="0" lvl="0" indent="0" algn="ctr" defTabSz="46228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040" kern="1200" dirty="0"/>
                  <a:t>Aerodynamic forces vary linearly with phase shift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040" i="1" kern="120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040" i="1" kern="120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𝜑</m:t>
                        </m:r>
                      </m:e>
                      <m:sub>
                        <m:r>
                          <a:rPr lang="en-US" sz="1040" b="0" i="1" kern="1200" smtClean="0">
                            <a:latin typeface="Cambria Math" panose="02040503050406030204" pitchFamily="18" charset="0"/>
                          </a:rPr>
                          <m:t>𝑃</m:t>
                        </m:r>
                      </m:sub>
                    </m:sSub>
                  </m:oMath>
                </a14:m>
                <a:r>
                  <a:rPr lang="en-US" sz="1040" kern="1200" dirty="0"/>
                  <a:t>) between propeller and wing motions</a:t>
                </a:r>
                <a:endParaRPr lang="en-GB" sz="1040" kern="1200" dirty="0"/>
              </a:p>
            </p:txBody>
          </p:sp>
        </mc:Choice>
        <mc:Fallback xmlns=""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40C9813D-A1CC-7C48-6F4E-F886D22C264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59944" y="3072748"/>
                <a:ext cx="2274961" cy="604989"/>
              </a:xfrm>
              <a:custGeom>
                <a:avLst/>
                <a:gdLst>
                  <a:gd name="connsiteX0" fmla="*/ 0 w 2274961"/>
                  <a:gd name="connsiteY0" fmla="*/ 60499 h 604989"/>
                  <a:gd name="connsiteX1" fmla="*/ 60499 w 2274961"/>
                  <a:gd name="connsiteY1" fmla="*/ 0 h 604989"/>
                  <a:gd name="connsiteX2" fmla="*/ 2214462 w 2274961"/>
                  <a:gd name="connsiteY2" fmla="*/ 0 h 604989"/>
                  <a:gd name="connsiteX3" fmla="*/ 2274961 w 2274961"/>
                  <a:gd name="connsiteY3" fmla="*/ 60499 h 604989"/>
                  <a:gd name="connsiteX4" fmla="*/ 2274961 w 2274961"/>
                  <a:gd name="connsiteY4" fmla="*/ 544490 h 604989"/>
                  <a:gd name="connsiteX5" fmla="*/ 2214462 w 2274961"/>
                  <a:gd name="connsiteY5" fmla="*/ 604989 h 604989"/>
                  <a:gd name="connsiteX6" fmla="*/ 60499 w 2274961"/>
                  <a:gd name="connsiteY6" fmla="*/ 604989 h 604989"/>
                  <a:gd name="connsiteX7" fmla="*/ 0 w 2274961"/>
                  <a:gd name="connsiteY7" fmla="*/ 544490 h 604989"/>
                  <a:gd name="connsiteX8" fmla="*/ 0 w 2274961"/>
                  <a:gd name="connsiteY8" fmla="*/ 60499 h 604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74961" h="604989">
                    <a:moveTo>
                      <a:pt x="0" y="60499"/>
                    </a:moveTo>
                    <a:cubicBezTo>
                      <a:pt x="0" y="27086"/>
                      <a:pt x="27086" y="0"/>
                      <a:pt x="60499" y="0"/>
                    </a:cubicBezTo>
                    <a:lnTo>
                      <a:pt x="2214462" y="0"/>
                    </a:lnTo>
                    <a:cubicBezTo>
                      <a:pt x="2247875" y="0"/>
                      <a:pt x="2274961" y="27086"/>
                      <a:pt x="2274961" y="60499"/>
                    </a:cubicBezTo>
                    <a:lnTo>
                      <a:pt x="2274961" y="544490"/>
                    </a:lnTo>
                    <a:cubicBezTo>
                      <a:pt x="2274961" y="577903"/>
                      <a:pt x="2247875" y="604989"/>
                      <a:pt x="2214462" y="604989"/>
                    </a:cubicBezTo>
                    <a:lnTo>
                      <a:pt x="60499" y="604989"/>
                    </a:lnTo>
                    <a:cubicBezTo>
                      <a:pt x="27086" y="604989"/>
                      <a:pt x="0" y="577903"/>
                      <a:pt x="0" y="544490"/>
                    </a:cubicBezTo>
                    <a:lnTo>
                      <a:pt x="0" y="60499"/>
                    </a:lnTo>
                    <a:close/>
                  </a:path>
                </a:pathLst>
              </a:cu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57F04E63-0063-3B81-74E0-65B683677597}"/>
                  </a:ext>
                </a:extLst>
              </p:cNvPr>
              <p:cNvSpPr/>
              <p:nvPr/>
            </p:nvSpPr>
            <p:spPr>
              <a:xfrm>
                <a:off x="3659944" y="3770813"/>
                <a:ext cx="2274961" cy="604989"/>
              </a:xfrm>
              <a:custGeom>
                <a:avLst/>
                <a:gdLst>
                  <a:gd name="connsiteX0" fmla="*/ 0 w 2274961"/>
                  <a:gd name="connsiteY0" fmla="*/ 60499 h 604989"/>
                  <a:gd name="connsiteX1" fmla="*/ 60499 w 2274961"/>
                  <a:gd name="connsiteY1" fmla="*/ 0 h 604989"/>
                  <a:gd name="connsiteX2" fmla="*/ 2214462 w 2274961"/>
                  <a:gd name="connsiteY2" fmla="*/ 0 h 604989"/>
                  <a:gd name="connsiteX3" fmla="*/ 2274961 w 2274961"/>
                  <a:gd name="connsiteY3" fmla="*/ 60499 h 604989"/>
                  <a:gd name="connsiteX4" fmla="*/ 2274961 w 2274961"/>
                  <a:gd name="connsiteY4" fmla="*/ 544490 h 604989"/>
                  <a:gd name="connsiteX5" fmla="*/ 2214462 w 2274961"/>
                  <a:gd name="connsiteY5" fmla="*/ 604989 h 604989"/>
                  <a:gd name="connsiteX6" fmla="*/ 60499 w 2274961"/>
                  <a:gd name="connsiteY6" fmla="*/ 604989 h 604989"/>
                  <a:gd name="connsiteX7" fmla="*/ 0 w 2274961"/>
                  <a:gd name="connsiteY7" fmla="*/ 544490 h 604989"/>
                  <a:gd name="connsiteX8" fmla="*/ 0 w 2274961"/>
                  <a:gd name="connsiteY8" fmla="*/ 60499 h 604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74961" h="604989">
                    <a:moveTo>
                      <a:pt x="0" y="60499"/>
                    </a:moveTo>
                    <a:cubicBezTo>
                      <a:pt x="0" y="27086"/>
                      <a:pt x="27086" y="0"/>
                      <a:pt x="60499" y="0"/>
                    </a:cubicBezTo>
                    <a:lnTo>
                      <a:pt x="2214462" y="0"/>
                    </a:lnTo>
                    <a:cubicBezTo>
                      <a:pt x="2247875" y="0"/>
                      <a:pt x="2274961" y="27086"/>
                      <a:pt x="2274961" y="60499"/>
                    </a:cubicBezTo>
                    <a:lnTo>
                      <a:pt x="2274961" y="544490"/>
                    </a:lnTo>
                    <a:cubicBezTo>
                      <a:pt x="2274961" y="577903"/>
                      <a:pt x="2247875" y="604989"/>
                      <a:pt x="2214462" y="604989"/>
                    </a:cubicBezTo>
                    <a:lnTo>
                      <a:pt x="60499" y="604989"/>
                    </a:lnTo>
                    <a:cubicBezTo>
                      <a:pt x="27086" y="604989"/>
                      <a:pt x="0" y="577903"/>
                      <a:pt x="0" y="544490"/>
                    </a:cubicBezTo>
                    <a:lnTo>
                      <a:pt x="0" y="60499"/>
                    </a:lnTo>
                    <a:close/>
                  </a:path>
                </a:pathLst>
              </a:custGeom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3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3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43120" tIns="36770" rIns="43120" bIns="36770" numCol="1" spcCol="1270" anchor="ctr" anchorCtr="0">
                <a:noAutofit/>
              </a:bodyPr>
              <a:lstStyle/>
              <a:p>
                <a:pPr marL="0" lvl="0" indent="0" algn="ctr" defTabSz="46228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040" kern="1200" dirty="0"/>
                  <a:t>Magnitude variation of the aerodynamic response is independent o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040" i="1" kern="120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040" i="1" kern="120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𝜑</m:t>
                        </m:r>
                      </m:e>
                      <m:sub>
                        <m:r>
                          <a:rPr lang="en-US" sz="1040" b="0" i="1" kern="1200" smtClean="0">
                            <a:latin typeface="Cambria Math" panose="02040503050406030204" pitchFamily="18" charset="0"/>
                          </a:rPr>
                          <m:t>𝑃</m:t>
                        </m:r>
                      </m:sub>
                    </m:sSub>
                  </m:oMath>
                </a14:m>
                <a:endParaRPr lang="en-GB" sz="1040" kern="1200" dirty="0"/>
              </a:p>
            </p:txBody>
          </p:sp>
        </mc:Choice>
        <mc:Fallback xmlns=""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57F04E63-0063-3B81-74E0-65B68367759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59944" y="3770813"/>
                <a:ext cx="2274961" cy="604989"/>
              </a:xfrm>
              <a:custGeom>
                <a:avLst/>
                <a:gdLst>
                  <a:gd name="connsiteX0" fmla="*/ 0 w 2274961"/>
                  <a:gd name="connsiteY0" fmla="*/ 60499 h 604989"/>
                  <a:gd name="connsiteX1" fmla="*/ 60499 w 2274961"/>
                  <a:gd name="connsiteY1" fmla="*/ 0 h 604989"/>
                  <a:gd name="connsiteX2" fmla="*/ 2214462 w 2274961"/>
                  <a:gd name="connsiteY2" fmla="*/ 0 h 604989"/>
                  <a:gd name="connsiteX3" fmla="*/ 2274961 w 2274961"/>
                  <a:gd name="connsiteY3" fmla="*/ 60499 h 604989"/>
                  <a:gd name="connsiteX4" fmla="*/ 2274961 w 2274961"/>
                  <a:gd name="connsiteY4" fmla="*/ 544490 h 604989"/>
                  <a:gd name="connsiteX5" fmla="*/ 2214462 w 2274961"/>
                  <a:gd name="connsiteY5" fmla="*/ 604989 h 604989"/>
                  <a:gd name="connsiteX6" fmla="*/ 60499 w 2274961"/>
                  <a:gd name="connsiteY6" fmla="*/ 604989 h 604989"/>
                  <a:gd name="connsiteX7" fmla="*/ 0 w 2274961"/>
                  <a:gd name="connsiteY7" fmla="*/ 544490 h 604989"/>
                  <a:gd name="connsiteX8" fmla="*/ 0 w 2274961"/>
                  <a:gd name="connsiteY8" fmla="*/ 60499 h 604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74961" h="604989">
                    <a:moveTo>
                      <a:pt x="0" y="60499"/>
                    </a:moveTo>
                    <a:cubicBezTo>
                      <a:pt x="0" y="27086"/>
                      <a:pt x="27086" y="0"/>
                      <a:pt x="60499" y="0"/>
                    </a:cubicBezTo>
                    <a:lnTo>
                      <a:pt x="2214462" y="0"/>
                    </a:lnTo>
                    <a:cubicBezTo>
                      <a:pt x="2247875" y="0"/>
                      <a:pt x="2274961" y="27086"/>
                      <a:pt x="2274961" y="60499"/>
                    </a:cubicBezTo>
                    <a:lnTo>
                      <a:pt x="2274961" y="544490"/>
                    </a:lnTo>
                    <a:cubicBezTo>
                      <a:pt x="2274961" y="577903"/>
                      <a:pt x="2247875" y="604989"/>
                      <a:pt x="2214462" y="604989"/>
                    </a:cubicBezTo>
                    <a:lnTo>
                      <a:pt x="60499" y="604989"/>
                    </a:lnTo>
                    <a:cubicBezTo>
                      <a:pt x="27086" y="604989"/>
                      <a:pt x="0" y="577903"/>
                      <a:pt x="0" y="544490"/>
                    </a:cubicBezTo>
                    <a:lnTo>
                      <a:pt x="0" y="60499"/>
                    </a:lnTo>
                    <a:close/>
                  </a:path>
                </a:pathLst>
              </a:cu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051D9224-3269-2907-F31C-2FECD5749749}"/>
                  </a:ext>
                </a:extLst>
              </p:cNvPr>
              <p:cNvSpPr/>
              <p:nvPr/>
            </p:nvSpPr>
            <p:spPr>
              <a:xfrm>
                <a:off x="3659944" y="4468877"/>
                <a:ext cx="2274961" cy="604989"/>
              </a:xfrm>
              <a:custGeom>
                <a:avLst/>
                <a:gdLst>
                  <a:gd name="connsiteX0" fmla="*/ 0 w 2274961"/>
                  <a:gd name="connsiteY0" fmla="*/ 60499 h 604989"/>
                  <a:gd name="connsiteX1" fmla="*/ 60499 w 2274961"/>
                  <a:gd name="connsiteY1" fmla="*/ 0 h 604989"/>
                  <a:gd name="connsiteX2" fmla="*/ 2214462 w 2274961"/>
                  <a:gd name="connsiteY2" fmla="*/ 0 h 604989"/>
                  <a:gd name="connsiteX3" fmla="*/ 2274961 w 2274961"/>
                  <a:gd name="connsiteY3" fmla="*/ 60499 h 604989"/>
                  <a:gd name="connsiteX4" fmla="*/ 2274961 w 2274961"/>
                  <a:gd name="connsiteY4" fmla="*/ 544490 h 604989"/>
                  <a:gd name="connsiteX5" fmla="*/ 2214462 w 2274961"/>
                  <a:gd name="connsiteY5" fmla="*/ 604989 h 604989"/>
                  <a:gd name="connsiteX6" fmla="*/ 60499 w 2274961"/>
                  <a:gd name="connsiteY6" fmla="*/ 604989 h 604989"/>
                  <a:gd name="connsiteX7" fmla="*/ 0 w 2274961"/>
                  <a:gd name="connsiteY7" fmla="*/ 544490 h 604989"/>
                  <a:gd name="connsiteX8" fmla="*/ 0 w 2274961"/>
                  <a:gd name="connsiteY8" fmla="*/ 60499 h 604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74961" h="604989">
                    <a:moveTo>
                      <a:pt x="0" y="60499"/>
                    </a:moveTo>
                    <a:cubicBezTo>
                      <a:pt x="0" y="27086"/>
                      <a:pt x="27086" y="0"/>
                      <a:pt x="60499" y="0"/>
                    </a:cubicBezTo>
                    <a:lnTo>
                      <a:pt x="2214462" y="0"/>
                    </a:lnTo>
                    <a:cubicBezTo>
                      <a:pt x="2247875" y="0"/>
                      <a:pt x="2274961" y="27086"/>
                      <a:pt x="2274961" y="60499"/>
                    </a:cubicBezTo>
                    <a:lnTo>
                      <a:pt x="2274961" y="544490"/>
                    </a:lnTo>
                    <a:cubicBezTo>
                      <a:pt x="2274961" y="577903"/>
                      <a:pt x="2247875" y="604989"/>
                      <a:pt x="2214462" y="604989"/>
                    </a:cubicBezTo>
                    <a:lnTo>
                      <a:pt x="60499" y="604989"/>
                    </a:lnTo>
                    <a:cubicBezTo>
                      <a:pt x="27086" y="604989"/>
                      <a:pt x="0" y="577903"/>
                      <a:pt x="0" y="544490"/>
                    </a:cubicBezTo>
                    <a:lnTo>
                      <a:pt x="0" y="60499"/>
                    </a:lnTo>
                    <a:close/>
                  </a:path>
                </a:pathLst>
              </a:custGeom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3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3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43120" tIns="36770" rIns="43120" bIns="36770" numCol="1" spcCol="1270" anchor="ctr" anchorCtr="0">
                <a:noAutofit/>
              </a:bodyPr>
              <a:lstStyle/>
              <a:p>
                <a:pPr marL="0" lvl="0" indent="0" algn="ctr" defTabSz="46228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040" kern="1200" dirty="0"/>
                  <a:t>For a fixed amplitude ratio, the system's aerodynamic response increases as </a:t>
                </a:r>
                <a14:m>
                  <m:oMath xmlns:m="http://schemas.openxmlformats.org/officeDocument/2006/math">
                    <m:r>
                      <a:rPr lang="en-US" sz="1040" b="0" i="1" kern="1200" smtClean="0">
                        <a:latin typeface="Cambria Math" panose="02040503050406030204" pitchFamily="18" charset="0"/>
                      </a:rPr>
                      <m:t>𝑘</m:t>
                    </m:r>
                  </m:oMath>
                </a14:m>
                <a:r>
                  <a:rPr lang="en-US" sz="1040" kern="1200" dirty="0"/>
                  <a:t> increases</a:t>
                </a:r>
                <a:endParaRPr lang="en-GB" sz="1040" kern="1200" dirty="0"/>
              </a:p>
            </p:txBody>
          </p:sp>
        </mc:Choice>
        <mc:Fallback xmlns=""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051D9224-3269-2907-F31C-2FECD574974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59944" y="4468877"/>
                <a:ext cx="2274961" cy="604989"/>
              </a:xfrm>
              <a:custGeom>
                <a:avLst/>
                <a:gdLst>
                  <a:gd name="connsiteX0" fmla="*/ 0 w 2274961"/>
                  <a:gd name="connsiteY0" fmla="*/ 60499 h 604989"/>
                  <a:gd name="connsiteX1" fmla="*/ 60499 w 2274961"/>
                  <a:gd name="connsiteY1" fmla="*/ 0 h 604989"/>
                  <a:gd name="connsiteX2" fmla="*/ 2214462 w 2274961"/>
                  <a:gd name="connsiteY2" fmla="*/ 0 h 604989"/>
                  <a:gd name="connsiteX3" fmla="*/ 2274961 w 2274961"/>
                  <a:gd name="connsiteY3" fmla="*/ 60499 h 604989"/>
                  <a:gd name="connsiteX4" fmla="*/ 2274961 w 2274961"/>
                  <a:gd name="connsiteY4" fmla="*/ 544490 h 604989"/>
                  <a:gd name="connsiteX5" fmla="*/ 2214462 w 2274961"/>
                  <a:gd name="connsiteY5" fmla="*/ 604989 h 604989"/>
                  <a:gd name="connsiteX6" fmla="*/ 60499 w 2274961"/>
                  <a:gd name="connsiteY6" fmla="*/ 604989 h 604989"/>
                  <a:gd name="connsiteX7" fmla="*/ 0 w 2274961"/>
                  <a:gd name="connsiteY7" fmla="*/ 544490 h 604989"/>
                  <a:gd name="connsiteX8" fmla="*/ 0 w 2274961"/>
                  <a:gd name="connsiteY8" fmla="*/ 60499 h 604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74961" h="604989">
                    <a:moveTo>
                      <a:pt x="0" y="60499"/>
                    </a:moveTo>
                    <a:cubicBezTo>
                      <a:pt x="0" y="27086"/>
                      <a:pt x="27086" y="0"/>
                      <a:pt x="60499" y="0"/>
                    </a:cubicBezTo>
                    <a:lnTo>
                      <a:pt x="2214462" y="0"/>
                    </a:lnTo>
                    <a:cubicBezTo>
                      <a:pt x="2247875" y="0"/>
                      <a:pt x="2274961" y="27086"/>
                      <a:pt x="2274961" y="60499"/>
                    </a:cubicBezTo>
                    <a:lnTo>
                      <a:pt x="2274961" y="544490"/>
                    </a:lnTo>
                    <a:cubicBezTo>
                      <a:pt x="2274961" y="577903"/>
                      <a:pt x="2247875" y="604989"/>
                      <a:pt x="2214462" y="604989"/>
                    </a:cubicBezTo>
                    <a:lnTo>
                      <a:pt x="60499" y="604989"/>
                    </a:lnTo>
                    <a:cubicBezTo>
                      <a:pt x="27086" y="604989"/>
                      <a:pt x="0" y="577903"/>
                      <a:pt x="0" y="544490"/>
                    </a:cubicBezTo>
                    <a:lnTo>
                      <a:pt x="0" y="60499"/>
                    </a:lnTo>
                    <a:close/>
                  </a:path>
                </a:pathLst>
              </a:cu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FC2D7AF5-E001-BFEE-EB3D-B4A461CE5EA8}"/>
              </a:ext>
            </a:extLst>
          </p:cNvPr>
          <p:cNvSpPr/>
          <p:nvPr/>
        </p:nvSpPr>
        <p:spPr>
          <a:xfrm>
            <a:off x="6432553" y="1128713"/>
            <a:ext cx="2843702" cy="4152900"/>
          </a:xfrm>
          <a:custGeom>
            <a:avLst/>
            <a:gdLst>
              <a:gd name="connsiteX0" fmla="*/ 0 w 2843702"/>
              <a:gd name="connsiteY0" fmla="*/ 284370 h 4152900"/>
              <a:gd name="connsiteX1" fmla="*/ 284370 w 2843702"/>
              <a:gd name="connsiteY1" fmla="*/ 0 h 4152900"/>
              <a:gd name="connsiteX2" fmla="*/ 2559332 w 2843702"/>
              <a:gd name="connsiteY2" fmla="*/ 0 h 4152900"/>
              <a:gd name="connsiteX3" fmla="*/ 2843702 w 2843702"/>
              <a:gd name="connsiteY3" fmla="*/ 284370 h 4152900"/>
              <a:gd name="connsiteX4" fmla="*/ 2843702 w 2843702"/>
              <a:gd name="connsiteY4" fmla="*/ 3868530 h 4152900"/>
              <a:gd name="connsiteX5" fmla="*/ 2559332 w 2843702"/>
              <a:gd name="connsiteY5" fmla="*/ 4152900 h 4152900"/>
              <a:gd name="connsiteX6" fmla="*/ 284370 w 2843702"/>
              <a:gd name="connsiteY6" fmla="*/ 4152900 h 4152900"/>
              <a:gd name="connsiteX7" fmla="*/ 0 w 2843702"/>
              <a:gd name="connsiteY7" fmla="*/ 3868530 h 4152900"/>
              <a:gd name="connsiteX8" fmla="*/ 0 w 2843702"/>
              <a:gd name="connsiteY8" fmla="*/ 284370 h 415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43702" h="4152900">
                <a:moveTo>
                  <a:pt x="0" y="284370"/>
                </a:moveTo>
                <a:cubicBezTo>
                  <a:pt x="0" y="127317"/>
                  <a:pt x="127317" y="0"/>
                  <a:pt x="284370" y="0"/>
                </a:cubicBezTo>
                <a:lnTo>
                  <a:pt x="2559332" y="0"/>
                </a:lnTo>
                <a:cubicBezTo>
                  <a:pt x="2716385" y="0"/>
                  <a:pt x="2843702" y="127317"/>
                  <a:pt x="2843702" y="284370"/>
                </a:cubicBezTo>
                <a:lnTo>
                  <a:pt x="2843702" y="3868530"/>
                </a:lnTo>
                <a:cubicBezTo>
                  <a:pt x="2843702" y="4025583"/>
                  <a:pt x="2716385" y="4152900"/>
                  <a:pt x="2559332" y="4152900"/>
                </a:cubicBezTo>
                <a:lnTo>
                  <a:pt x="284370" y="4152900"/>
                </a:lnTo>
                <a:cubicBezTo>
                  <a:pt x="127317" y="4152900"/>
                  <a:pt x="0" y="4025583"/>
                  <a:pt x="0" y="3868530"/>
                </a:cubicBezTo>
                <a:lnTo>
                  <a:pt x="0" y="284370"/>
                </a:lnTo>
                <a:close/>
              </a:path>
            </a:pathLst>
          </a:custGeom>
        </p:spPr>
        <p:style>
          <a:lnRef idx="0">
            <a:schemeClr val="accent3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40000"/>
              <a:hueOff val="0"/>
              <a:satOff val="0"/>
              <a:lumOff val="0"/>
              <a:alphaOff val="0"/>
            </a:schemeClr>
          </a:fillRef>
          <a:effectRef idx="2">
            <a:schemeClr val="accent3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0960" tIns="60960" rIns="60960" bIns="2967990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 dirty="0"/>
              <a:t>Flexible Wing with Rigidly Attached Propeller</a:t>
            </a:r>
            <a:endParaRPr lang="en-GB" sz="1600" kern="12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137377F5-E279-CD83-1BBB-B3E9F30EA224}"/>
                  </a:ext>
                </a:extLst>
              </p:cNvPr>
              <p:cNvSpPr/>
              <p:nvPr/>
            </p:nvSpPr>
            <p:spPr>
              <a:xfrm>
                <a:off x="6716924" y="2375799"/>
                <a:ext cx="2274961" cy="1252156"/>
              </a:xfrm>
              <a:custGeom>
                <a:avLst/>
                <a:gdLst>
                  <a:gd name="connsiteX0" fmla="*/ 0 w 2274961"/>
                  <a:gd name="connsiteY0" fmla="*/ 125216 h 1252156"/>
                  <a:gd name="connsiteX1" fmla="*/ 125216 w 2274961"/>
                  <a:gd name="connsiteY1" fmla="*/ 0 h 1252156"/>
                  <a:gd name="connsiteX2" fmla="*/ 2149745 w 2274961"/>
                  <a:gd name="connsiteY2" fmla="*/ 0 h 1252156"/>
                  <a:gd name="connsiteX3" fmla="*/ 2274961 w 2274961"/>
                  <a:gd name="connsiteY3" fmla="*/ 125216 h 1252156"/>
                  <a:gd name="connsiteX4" fmla="*/ 2274961 w 2274961"/>
                  <a:gd name="connsiteY4" fmla="*/ 1126940 h 1252156"/>
                  <a:gd name="connsiteX5" fmla="*/ 2149745 w 2274961"/>
                  <a:gd name="connsiteY5" fmla="*/ 1252156 h 1252156"/>
                  <a:gd name="connsiteX6" fmla="*/ 125216 w 2274961"/>
                  <a:gd name="connsiteY6" fmla="*/ 1252156 h 1252156"/>
                  <a:gd name="connsiteX7" fmla="*/ 0 w 2274961"/>
                  <a:gd name="connsiteY7" fmla="*/ 1126940 h 1252156"/>
                  <a:gd name="connsiteX8" fmla="*/ 0 w 2274961"/>
                  <a:gd name="connsiteY8" fmla="*/ 125216 h 1252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74961" h="1252156">
                    <a:moveTo>
                      <a:pt x="0" y="125216"/>
                    </a:moveTo>
                    <a:cubicBezTo>
                      <a:pt x="0" y="56061"/>
                      <a:pt x="56061" y="0"/>
                      <a:pt x="125216" y="0"/>
                    </a:cubicBezTo>
                    <a:lnTo>
                      <a:pt x="2149745" y="0"/>
                    </a:lnTo>
                    <a:cubicBezTo>
                      <a:pt x="2218900" y="0"/>
                      <a:pt x="2274961" y="56061"/>
                      <a:pt x="2274961" y="125216"/>
                    </a:cubicBezTo>
                    <a:lnTo>
                      <a:pt x="2274961" y="1126940"/>
                    </a:lnTo>
                    <a:cubicBezTo>
                      <a:pt x="2274961" y="1196095"/>
                      <a:pt x="2218900" y="1252156"/>
                      <a:pt x="2149745" y="1252156"/>
                    </a:cubicBezTo>
                    <a:lnTo>
                      <a:pt x="125216" y="1252156"/>
                    </a:lnTo>
                    <a:cubicBezTo>
                      <a:pt x="56061" y="1252156"/>
                      <a:pt x="0" y="1196095"/>
                      <a:pt x="0" y="1126940"/>
                    </a:cubicBezTo>
                    <a:lnTo>
                      <a:pt x="0" y="125216"/>
                    </a:lnTo>
                    <a:close/>
                  </a:path>
                </a:pathLst>
              </a:custGeom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3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3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2074" tIns="55724" rIns="62074" bIns="55724" numCol="1" spcCol="1270" anchor="ctr" anchorCtr="0">
                <a:noAutofit/>
              </a:bodyPr>
              <a:lstStyle/>
              <a:p>
                <a:pPr marL="0" lvl="0" indent="0" algn="ctr" defTabSz="46228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GB" sz="1040" kern="1200" dirty="0"/>
                  <a:t>Minimal variations in lift and moment force coefficients (</a:t>
                </a:r>
                <a14:m>
                  <m:oMath xmlns:m="http://schemas.openxmlformats.org/officeDocument/2006/math">
                    <m:r>
                      <a:rPr lang="en-GB" sz="1040" i="1" kern="1200" smtClean="0">
                        <a:latin typeface="Cambria Math" panose="02040503050406030204" pitchFamily="18" charset="0"/>
                      </a:rPr>
                      <m:t>∆</m:t>
                    </m:r>
                    <m:sSub>
                      <m:sSubPr>
                        <m:ctrlPr>
                          <a:rPr lang="en-DE" sz="1040" i="1" kern="120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040" i="1" kern="1200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en-GB" sz="1040" i="1" kern="1200">
                            <a:latin typeface="Cambria Math" panose="02040503050406030204" pitchFamily="18" charset="0"/>
                          </a:rPr>
                          <m:t>𝐿</m:t>
                        </m:r>
                      </m:sub>
                    </m:sSub>
                  </m:oMath>
                </a14:m>
                <a:r>
                  <a:rPr lang="en-GB" sz="1040" kern="1200" dirty="0">
                    <a:latin typeface="+mn-lt"/>
                  </a:rPr>
                  <a:t>,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DE" sz="1040" i="1" kern="120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040" i="1" kern="1200">
                            <a:latin typeface="Cambria Math" panose="02040503050406030204" pitchFamily="18" charset="0"/>
                          </a:rPr>
                          <m:t>∆</m:t>
                        </m:r>
                        <m:r>
                          <a:rPr lang="en-GB" sz="1040" i="1" kern="1200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en-GB" sz="1040" i="1" kern="1200">
                            <a:latin typeface="Cambria Math" panose="02040503050406030204" pitchFamily="18" charset="0"/>
                          </a:rPr>
                          <m:t>𝑀</m:t>
                        </m:r>
                      </m:sub>
                    </m:sSub>
                  </m:oMath>
                </a14:m>
                <a:r>
                  <a:rPr lang="en-GB" sz="1040" kern="1200" dirty="0"/>
                  <a:t>) and phase shifts (</a:t>
                </a:r>
                <a14:m>
                  <m:oMath xmlns:m="http://schemas.openxmlformats.org/officeDocument/2006/math">
                    <m:r>
                      <a:rPr lang="en-GB" sz="1040" i="1" kern="1200" smtClean="0"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∆</m:t>
                    </m:r>
                    <m:sSub>
                      <m:sSubPr>
                        <m:ctrlPr>
                          <a:rPr lang="en-DE" sz="1040" i="1" kern="1200"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GB" sz="1040" i="1" kern="1200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𝜓</m:t>
                        </m:r>
                      </m:e>
                      <m:sub>
                        <m:r>
                          <a:rPr lang="en-GB" sz="1040" i="1" kern="1200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𝐿</m:t>
                        </m:r>
                      </m:sub>
                    </m:sSub>
                  </m:oMath>
                </a14:m>
                <a:r>
                  <a:rPr lang="en-GB" sz="1040" kern="1200" dirty="0">
                    <a:latin typeface="+mn-lt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,</a:t>
                </a:r>
                <a14:m>
                  <m:oMath xmlns:m="http://schemas.openxmlformats.org/officeDocument/2006/math">
                    <m:r>
                      <a:rPr lang="en-GB" sz="1040" i="1" kern="1200"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∆</m:t>
                    </m:r>
                    <m:sSub>
                      <m:sSubPr>
                        <m:ctrlPr>
                          <a:rPr lang="en-DE" sz="1040" i="1" kern="1200"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GB" sz="1040" i="1" kern="1200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𝜓</m:t>
                        </m:r>
                      </m:e>
                      <m:sub>
                        <m:r>
                          <a:rPr lang="en-GB" sz="1040" i="1" kern="1200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𝑀</m:t>
                        </m:r>
                      </m:sub>
                    </m:sSub>
                  </m:oMath>
                </a14:m>
                <a:r>
                  <a:rPr lang="en-GB" sz="1040" kern="1200" dirty="0"/>
                  <a:t>) between the wing-propeller and the standalone wing models across different spanwise propeller locations</a:t>
                </a:r>
              </a:p>
            </p:txBody>
          </p:sp>
        </mc:Choice>
        <mc:Fallback xmlns=""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137377F5-E279-CD83-1BBB-B3E9F30EA22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16924" y="2375799"/>
                <a:ext cx="2274961" cy="1252156"/>
              </a:xfrm>
              <a:custGeom>
                <a:avLst/>
                <a:gdLst>
                  <a:gd name="connsiteX0" fmla="*/ 0 w 2274961"/>
                  <a:gd name="connsiteY0" fmla="*/ 125216 h 1252156"/>
                  <a:gd name="connsiteX1" fmla="*/ 125216 w 2274961"/>
                  <a:gd name="connsiteY1" fmla="*/ 0 h 1252156"/>
                  <a:gd name="connsiteX2" fmla="*/ 2149745 w 2274961"/>
                  <a:gd name="connsiteY2" fmla="*/ 0 h 1252156"/>
                  <a:gd name="connsiteX3" fmla="*/ 2274961 w 2274961"/>
                  <a:gd name="connsiteY3" fmla="*/ 125216 h 1252156"/>
                  <a:gd name="connsiteX4" fmla="*/ 2274961 w 2274961"/>
                  <a:gd name="connsiteY4" fmla="*/ 1126940 h 1252156"/>
                  <a:gd name="connsiteX5" fmla="*/ 2149745 w 2274961"/>
                  <a:gd name="connsiteY5" fmla="*/ 1252156 h 1252156"/>
                  <a:gd name="connsiteX6" fmla="*/ 125216 w 2274961"/>
                  <a:gd name="connsiteY6" fmla="*/ 1252156 h 1252156"/>
                  <a:gd name="connsiteX7" fmla="*/ 0 w 2274961"/>
                  <a:gd name="connsiteY7" fmla="*/ 1126940 h 1252156"/>
                  <a:gd name="connsiteX8" fmla="*/ 0 w 2274961"/>
                  <a:gd name="connsiteY8" fmla="*/ 125216 h 1252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74961" h="1252156">
                    <a:moveTo>
                      <a:pt x="0" y="125216"/>
                    </a:moveTo>
                    <a:cubicBezTo>
                      <a:pt x="0" y="56061"/>
                      <a:pt x="56061" y="0"/>
                      <a:pt x="125216" y="0"/>
                    </a:cubicBezTo>
                    <a:lnTo>
                      <a:pt x="2149745" y="0"/>
                    </a:lnTo>
                    <a:cubicBezTo>
                      <a:pt x="2218900" y="0"/>
                      <a:pt x="2274961" y="56061"/>
                      <a:pt x="2274961" y="125216"/>
                    </a:cubicBezTo>
                    <a:lnTo>
                      <a:pt x="2274961" y="1126940"/>
                    </a:lnTo>
                    <a:cubicBezTo>
                      <a:pt x="2274961" y="1196095"/>
                      <a:pt x="2218900" y="1252156"/>
                      <a:pt x="2149745" y="1252156"/>
                    </a:cubicBezTo>
                    <a:lnTo>
                      <a:pt x="125216" y="1252156"/>
                    </a:lnTo>
                    <a:cubicBezTo>
                      <a:pt x="56061" y="1252156"/>
                      <a:pt x="0" y="1196095"/>
                      <a:pt x="0" y="1126940"/>
                    </a:cubicBezTo>
                    <a:lnTo>
                      <a:pt x="0" y="125216"/>
                    </a:lnTo>
                    <a:close/>
                  </a:path>
                </a:pathLst>
              </a:cu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198B3F0F-FAD3-8962-9DB1-B8046CCA5CC6}"/>
                  </a:ext>
                </a:extLst>
              </p:cNvPr>
              <p:cNvSpPr/>
              <p:nvPr/>
            </p:nvSpPr>
            <p:spPr>
              <a:xfrm>
                <a:off x="6716924" y="3820595"/>
                <a:ext cx="2274961" cy="1252156"/>
              </a:xfrm>
              <a:custGeom>
                <a:avLst/>
                <a:gdLst>
                  <a:gd name="connsiteX0" fmla="*/ 0 w 2274961"/>
                  <a:gd name="connsiteY0" fmla="*/ 125216 h 1252156"/>
                  <a:gd name="connsiteX1" fmla="*/ 125216 w 2274961"/>
                  <a:gd name="connsiteY1" fmla="*/ 0 h 1252156"/>
                  <a:gd name="connsiteX2" fmla="*/ 2149745 w 2274961"/>
                  <a:gd name="connsiteY2" fmla="*/ 0 h 1252156"/>
                  <a:gd name="connsiteX3" fmla="*/ 2274961 w 2274961"/>
                  <a:gd name="connsiteY3" fmla="*/ 125216 h 1252156"/>
                  <a:gd name="connsiteX4" fmla="*/ 2274961 w 2274961"/>
                  <a:gd name="connsiteY4" fmla="*/ 1126940 h 1252156"/>
                  <a:gd name="connsiteX5" fmla="*/ 2149745 w 2274961"/>
                  <a:gd name="connsiteY5" fmla="*/ 1252156 h 1252156"/>
                  <a:gd name="connsiteX6" fmla="*/ 125216 w 2274961"/>
                  <a:gd name="connsiteY6" fmla="*/ 1252156 h 1252156"/>
                  <a:gd name="connsiteX7" fmla="*/ 0 w 2274961"/>
                  <a:gd name="connsiteY7" fmla="*/ 1126940 h 1252156"/>
                  <a:gd name="connsiteX8" fmla="*/ 0 w 2274961"/>
                  <a:gd name="connsiteY8" fmla="*/ 125216 h 1252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74961" h="1252156">
                    <a:moveTo>
                      <a:pt x="0" y="125216"/>
                    </a:moveTo>
                    <a:cubicBezTo>
                      <a:pt x="0" y="56061"/>
                      <a:pt x="56061" y="0"/>
                      <a:pt x="125216" y="0"/>
                    </a:cubicBezTo>
                    <a:lnTo>
                      <a:pt x="2149745" y="0"/>
                    </a:lnTo>
                    <a:cubicBezTo>
                      <a:pt x="2218900" y="0"/>
                      <a:pt x="2274961" y="56061"/>
                      <a:pt x="2274961" y="125216"/>
                    </a:cubicBezTo>
                    <a:lnTo>
                      <a:pt x="2274961" y="1126940"/>
                    </a:lnTo>
                    <a:cubicBezTo>
                      <a:pt x="2274961" y="1196095"/>
                      <a:pt x="2218900" y="1252156"/>
                      <a:pt x="2149745" y="1252156"/>
                    </a:cubicBezTo>
                    <a:lnTo>
                      <a:pt x="125216" y="1252156"/>
                    </a:lnTo>
                    <a:cubicBezTo>
                      <a:pt x="56061" y="1252156"/>
                      <a:pt x="0" y="1196095"/>
                      <a:pt x="0" y="1126940"/>
                    </a:cubicBezTo>
                    <a:lnTo>
                      <a:pt x="0" y="125216"/>
                    </a:lnTo>
                    <a:close/>
                  </a:path>
                </a:pathLst>
              </a:custGeom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3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3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2074" tIns="55724" rIns="62074" bIns="55724" numCol="1" spcCol="1270" anchor="t" anchorCtr="0">
                <a:noAutofit/>
              </a:bodyPr>
              <a:lstStyle/>
              <a:p>
                <a:pPr marL="0" lvl="0" indent="0" algn="l" defTabSz="46228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GB" sz="1040" kern="1200" dirty="0"/>
                  <a:t>Notable differences:</a:t>
                </a:r>
              </a:p>
              <a:p>
                <a:pPr marL="57150" lvl="1" indent="-57150" algn="l" defTabSz="377825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Char char="•"/>
                </a:pPr>
                <a:r>
                  <a:rPr lang="en-US" sz="850" kern="1200" dirty="0"/>
                  <a:t>Moderate increase in </a:t>
                </a:r>
                <a14:m>
                  <m:oMath xmlns:m="http://schemas.openxmlformats.org/officeDocument/2006/math">
                    <m:r>
                      <a:rPr lang="en-GB" sz="850" i="1" kern="1200" smtClean="0">
                        <a:latin typeface="Cambria Math" panose="02040503050406030204" pitchFamily="18" charset="0"/>
                      </a:rPr>
                      <m:t>∆</m:t>
                    </m:r>
                    <m:sSub>
                      <m:sSubPr>
                        <m:ctrlPr>
                          <a:rPr lang="en-DE" sz="850" i="1" kern="120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850" i="1" kern="1200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en-GB" sz="850" i="1" kern="1200">
                            <a:latin typeface="Cambria Math" panose="02040503050406030204" pitchFamily="18" charset="0"/>
                          </a:rPr>
                          <m:t>𝐿</m:t>
                        </m:r>
                      </m:sub>
                    </m:sSub>
                  </m:oMath>
                </a14:m>
                <a:r>
                  <a:rPr lang="en-US" sz="850" kern="1200" dirty="0"/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DE" sz="850" i="1" kern="120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850" i="1" kern="1200">
                            <a:latin typeface="Cambria Math" panose="02040503050406030204" pitchFamily="18" charset="0"/>
                          </a:rPr>
                          <m:t>∆</m:t>
                        </m:r>
                        <m:r>
                          <a:rPr lang="en-GB" sz="850" i="1" kern="1200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en-GB" sz="850" i="1" kern="1200">
                            <a:latin typeface="Cambria Math" panose="02040503050406030204" pitchFamily="18" charset="0"/>
                          </a:rPr>
                          <m:t>𝑀</m:t>
                        </m:r>
                      </m:sub>
                    </m:sSub>
                    <m:r>
                      <a:rPr lang="en-US" sz="850" b="0" i="1" kern="120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850" kern="1200" dirty="0"/>
                  <a:t>for wingtip propeller in the 1st natural bending wing mode, compared to inboard propeller locations</a:t>
                </a:r>
                <a:endParaRPr lang="en-GB" sz="850" kern="1200" dirty="0"/>
              </a:p>
              <a:p>
                <a:pPr marL="57150" lvl="1" indent="-57150" algn="l" defTabSz="377825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Char char="•"/>
                </a:pPr>
                <a:r>
                  <a:rPr lang="en-US" sz="850" kern="1200" dirty="0"/>
                  <a:t>Large increase in </a:t>
                </a:r>
                <a14:m>
                  <m:oMath xmlns:m="http://schemas.openxmlformats.org/officeDocument/2006/math">
                    <m:r>
                      <a:rPr lang="en-GB" sz="850" i="1" kern="1200" smtClean="0"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∆</m:t>
                    </m:r>
                    <m:sSub>
                      <m:sSubPr>
                        <m:ctrlPr>
                          <a:rPr lang="en-DE" sz="850" i="1" kern="1200"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GB" sz="850" i="1" kern="1200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𝜓</m:t>
                        </m:r>
                      </m:e>
                      <m:sub>
                        <m:r>
                          <a:rPr lang="en-GB" sz="850" i="1" kern="1200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𝑀</m:t>
                        </m:r>
                      </m:sub>
                    </m:sSub>
                  </m:oMath>
                </a14:m>
                <a:r>
                  <a:rPr lang="en-US" sz="850" kern="1200" dirty="0"/>
                  <a:t> at lower </a:t>
                </a:r>
                <a14:m>
                  <m:oMath xmlns:m="http://schemas.openxmlformats.org/officeDocument/2006/math">
                    <m:r>
                      <a:rPr lang="en-US" sz="850" i="1" kern="1200" dirty="0" smtClean="0">
                        <a:latin typeface="Cambria Math" panose="02040503050406030204" pitchFamily="18" charset="0"/>
                      </a:rPr>
                      <m:t>𝑘</m:t>
                    </m:r>
                  </m:oMath>
                </a14:m>
                <a:r>
                  <a:rPr lang="en-US" sz="850" kern="1200" dirty="0"/>
                  <a:t> for wingtip propeller in the 1st natural bending wing mode, compared to inboard locations</a:t>
                </a:r>
                <a:endParaRPr lang="en-GB" sz="850" kern="1200" dirty="0"/>
              </a:p>
            </p:txBody>
          </p:sp>
        </mc:Choice>
        <mc:Fallback xmlns=""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198B3F0F-FAD3-8962-9DB1-B8046CCA5CC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16924" y="3820595"/>
                <a:ext cx="2274961" cy="1252156"/>
              </a:xfrm>
              <a:custGeom>
                <a:avLst/>
                <a:gdLst>
                  <a:gd name="connsiteX0" fmla="*/ 0 w 2274961"/>
                  <a:gd name="connsiteY0" fmla="*/ 125216 h 1252156"/>
                  <a:gd name="connsiteX1" fmla="*/ 125216 w 2274961"/>
                  <a:gd name="connsiteY1" fmla="*/ 0 h 1252156"/>
                  <a:gd name="connsiteX2" fmla="*/ 2149745 w 2274961"/>
                  <a:gd name="connsiteY2" fmla="*/ 0 h 1252156"/>
                  <a:gd name="connsiteX3" fmla="*/ 2274961 w 2274961"/>
                  <a:gd name="connsiteY3" fmla="*/ 125216 h 1252156"/>
                  <a:gd name="connsiteX4" fmla="*/ 2274961 w 2274961"/>
                  <a:gd name="connsiteY4" fmla="*/ 1126940 h 1252156"/>
                  <a:gd name="connsiteX5" fmla="*/ 2149745 w 2274961"/>
                  <a:gd name="connsiteY5" fmla="*/ 1252156 h 1252156"/>
                  <a:gd name="connsiteX6" fmla="*/ 125216 w 2274961"/>
                  <a:gd name="connsiteY6" fmla="*/ 1252156 h 1252156"/>
                  <a:gd name="connsiteX7" fmla="*/ 0 w 2274961"/>
                  <a:gd name="connsiteY7" fmla="*/ 1126940 h 1252156"/>
                  <a:gd name="connsiteX8" fmla="*/ 0 w 2274961"/>
                  <a:gd name="connsiteY8" fmla="*/ 125216 h 1252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74961" h="1252156">
                    <a:moveTo>
                      <a:pt x="0" y="125216"/>
                    </a:moveTo>
                    <a:cubicBezTo>
                      <a:pt x="0" y="56061"/>
                      <a:pt x="56061" y="0"/>
                      <a:pt x="125216" y="0"/>
                    </a:cubicBezTo>
                    <a:lnTo>
                      <a:pt x="2149745" y="0"/>
                    </a:lnTo>
                    <a:cubicBezTo>
                      <a:pt x="2218900" y="0"/>
                      <a:pt x="2274961" y="56061"/>
                      <a:pt x="2274961" y="125216"/>
                    </a:cubicBezTo>
                    <a:lnTo>
                      <a:pt x="2274961" y="1126940"/>
                    </a:lnTo>
                    <a:cubicBezTo>
                      <a:pt x="2274961" y="1196095"/>
                      <a:pt x="2218900" y="1252156"/>
                      <a:pt x="2149745" y="1252156"/>
                    </a:cubicBezTo>
                    <a:lnTo>
                      <a:pt x="125216" y="1252156"/>
                    </a:lnTo>
                    <a:cubicBezTo>
                      <a:pt x="56061" y="1252156"/>
                      <a:pt x="0" y="1196095"/>
                      <a:pt x="0" y="1126940"/>
                    </a:cubicBezTo>
                    <a:lnTo>
                      <a:pt x="0" y="125216"/>
                    </a:lnTo>
                    <a:close/>
                  </a:path>
                </a:pathLst>
              </a:cu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461900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"/>
                            </p:stCondLst>
                            <p:childTnLst>
                              <p:par>
                                <p:cTn id="41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1000"/>
                            </p:stCondLst>
                            <p:childTnLst>
                              <p:par>
                                <p:cTn id="46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1500"/>
                            </p:stCondLst>
                            <p:childTnLst>
                              <p:par>
                                <p:cTn id="51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500"/>
                            </p:stCondLst>
                            <p:childTnLst>
                              <p:par>
                                <p:cTn id="67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6E013A-6095-74C3-F3E8-7FF1211940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0" y="409229"/>
            <a:ext cx="8960000" cy="385252"/>
          </a:xfrm>
        </p:spPr>
        <p:txBody>
          <a:bodyPr/>
          <a:lstStyle/>
          <a:p>
            <a:r>
              <a:rPr lang="de-DE" dirty="0"/>
              <a:t>Workflow</a:t>
            </a: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2C8F95A0-B45A-CCE0-8D7A-8438E267DF62}"/>
              </a:ext>
            </a:extLst>
          </p:cNvPr>
          <p:cNvSpPr/>
          <p:nvPr/>
        </p:nvSpPr>
        <p:spPr>
          <a:xfrm>
            <a:off x="1576311" y="2787605"/>
            <a:ext cx="242607" cy="283804"/>
          </a:xfrm>
          <a:custGeom>
            <a:avLst/>
            <a:gdLst>
              <a:gd name="connsiteX0" fmla="*/ 0 w 242607"/>
              <a:gd name="connsiteY0" fmla="*/ 56761 h 283804"/>
              <a:gd name="connsiteX1" fmla="*/ 121304 w 242607"/>
              <a:gd name="connsiteY1" fmla="*/ 56761 h 283804"/>
              <a:gd name="connsiteX2" fmla="*/ 121304 w 242607"/>
              <a:gd name="connsiteY2" fmla="*/ 0 h 283804"/>
              <a:gd name="connsiteX3" fmla="*/ 242607 w 242607"/>
              <a:gd name="connsiteY3" fmla="*/ 141902 h 283804"/>
              <a:gd name="connsiteX4" fmla="*/ 121304 w 242607"/>
              <a:gd name="connsiteY4" fmla="*/ 283804 h 283804"/>
              <a:gd name="connsiteX5" fmla="*/ 121304 w 242607"/>
              <a:gd name="connsiteY5" fmla="*/ 227043 h 283804"/>
              <a:gd name="connsiteX6" fmla="*/ 0 w 242607"/>
              <a:gd name="connsiteY6" fmla="*/ 227043 h 283804"/>
              <a:gd name="connsiteX7" fmla="*/ 0 w 242607"/>
              <a:gd name="connsiteY7" fmla="*/ 56761 h 283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2607" h="283804">
                <a:moveTo>
                  <a:pt x="0" y="56761"/>
                </a:moveTo>
                <a:lnTo>
                  <a:pt x="121304" y="56761"/>
                </a:lnTo>
                <a:lnTo>
                  <a:pt x="121304" y="0"/>
                </a:lnTo>
                <a:lnTo>
                  <a:pt x="242607" y="141902"/>
                </a:lnTo>
                <a:lnTo>
                  <a:pt x="121304" y="283804"/>
                </a:lnTo>
                <a:lnTo>
                  <a:pt x="121304" y="227043"/>
                </a:lnTo>
                <a:lnTo>
                  <a:pt x="0" y="227043"/>
                </a:lnTo>
                <a:lnTo>
                  <a:pt x="0" y="56761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56761" rIns="72782" bIns="56761" numCol="1" spcCol="1270" anchor="ctr" anchorCtr="0">
            <a:noAutofit/>
          </a:bodyPr>
          <a:lstStyle/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GB" sz="1000" kern="120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5E99077-4AD9-D6B5-FB5D-A9B8110E34D5}"/>
              </a:ext>
            </a:extLst>
          </p:cNvPr>
          <p:cNvSpPr/>
          <p:nvPr/>
        </p:nvSpPr>
        <p:spPr>
          <a:xfrm>
            <a:off x="3178434" y="2787605"/>
            <a:ext cx="242607" cy="283804"/>
          </a:xfrm>
          <a:custGeom>
            <a:avLst/>
            <a:gdLst>
              <a:gd name="connsiteX0" fmla="*/ 0 w 242607"/>
              <a:gd name="connsiteY0" fmla="*/ 56761 h 283804"/>
              <a:gd name="connsiteX1" fmla="*/ 121304 w 242607"/>
              <a:gd name="connsiteY1" fmla="*/ 56761 h 283804"/>
              <a:gd name="connsiteX2" fmla="*/ 121304 w 242607"/>
              <a:gd name="connsiteY2" fmla="*/ 0 h 283804"/>
              <a:gd name="connsiteX3" fmla="*/ 242607 w 242607"/>
              <a:gd name="connsiteY3" fmla="*/ 141902 h 283804"/>
              <a:gd name="connsiteX4" fmla="*/ 121304 w 242607"/>
              <a:gd name="connsiteY4" fmla="*/ 283804 h 283804"/>
              <a:gd name="connsiteX5" fmla="*/ 121304 w 242607"/>
              <a:gd name="connsiteY5" fmla="*/ 227043 h 283804"/>
              <a:gd name="connsiteX6" fmla="*/ 0 w 242607"/>
              <a:gd name="connsiteY6" fmla="*/ 227043 h 283804"/>
              <a:gd name="connsiteX7" fmla="*/ 0 w 242607"/>
              <a:gd name="connsiteY7" fmla="*/ 56761 h 283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2607" h="283804">
                <a:moveTo>
                  <a:pt x="0" y="56761"/>
                </a:moveTo>
                <a:lnTo>
                  <a:pt x="121304" y="56761"/>
                </a:lnTo>
                <a:lnTo>
                  <a:pt x="121304" y="0"/>
                </a:lnTo>
                <a:lnTo>
                  <a:pt x="242607" y="141902"/>
                </a:lnTo>
                <a:lnTo>
                  <a:pt x="121304" y="283804"/>
                </a:lnTo>
                <a:lnTo>
                  <a:pt x="121304" y="227043"/>
                </a:lnTo>
                <a:lnTo>
                  <a:pt x="0" y="227043"/>
                </a:lnTo>
                <a:lnTo>
                  <a:pt x="0" y="56761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56761" rIns="72782" bIns="56761" numCol="1" spcCol="1270" anchor="ctr" anchorCtr="0">
            <a:noAutofit/>
          </a:bodyPr>
          <a:lstStyle/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DE" sz="1000" kern="1200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15EE9AF8-F1ED-6B5B-C88B-5DCE74754FA3}"/>
              </a:ext>
            </a:extLst>
          </p:cNvPr>
          <p:cNvSpPr/>
          <p:nvPr/>
        </p:nvSpPr>
        <p:spPr>
          <a:xfrm>
            <a:off x="4780557" y="2787605"/>
            <a:ext cx="242607" cy="283804"/>
          </a:xfrm>
          <a:custGeom>
            <a:avLst/>
            <a:gdLst>
              <a:gd name="connsiteX0" fmla="*/ 0 w 242607"/>
              <a:gd name="connsiteY0" fmla="*/ 56761 h 283804"/>
              <a:gd name="connsiteX1" fmla="*/ 121304 w 242607"/>
              <a:gd name="connsiteY1" fmla="*/ 56761 h 283804"/>
              <a:gd name="connsiteX2" fmla="*/ 121304 w 242607"/>
              <a:gd name="connsiteY2" fmla="*/ 0 h 283804"/>
              <a:gd name="connsiteX3" fmla="*/ 242607 w 242607"/>
              <a:gd name="connsiteY3" fmla="*/ 141902 h 283804"/>
              <a:gd name="connsiteX4" fmla="*/ 121304 w 242607"/>
              <a:gd name="connsiteY4" fmla="*/ 283804 h 283804"/>
              <a:gd name="connsiteX5" fmla="*/ 121304 w 242607"/>
              <a:gd name="connsiteY5" fmla="*/ 227043 h 283804"/>
              <a:gd name="connsiteX6" fmla="*/ 0 w 242607"/>
              <a:gd name="connsiteY6" fmla="*/ 227043 h 283804"/>
              <a:gd name="connsiteX7" fmla="*/ 0 w 242607"/>
              <a:gd name="connsiteY7" fmla="*/ 56761 h 283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2607" h="283804">
                <a:moveTo>
                  <a:pt x="0" y="56761"/>
                </a:moveTo>
                <a:lnTo>
                  <a:pt x="121304" y="56761"/>
                </a:lnTo>
                <a:lnTo>
                  <a:pt x="121304" y="0"/>
                </a:lnTo>
                <a:lnTo>
                  <a:pt x="242607" y="141902"/>
                </a:lnTo>
                <a:lnTo>
                  <a:pt x="121304" y="283804"/>
                </a:lnTo>
                <a:lnTo>
                  <a:pt x="121304" y="227043"/>
                </a:lnTo>
                <a:lnTo>
                  <a:pt x="0" y="227043"/>
                </a:lnTo>
                <a:lnTo>
                  <a:pt x="0" y="56761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56761" rIns="72782" bIns="56761" numCol="1" spcCol="1270" anchor="ctr" anchorCtr="0">
            <a:noAutofit/>
          </a:bodyPr>
          <a:lstStyle/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DE" sz="1000" kern="1200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1980871F-C7D2-BB72-3678-A64F84F08D7C}"/>
              </a:ext>
            </a:extLst>
          </p:cNvPr>
          <p:cNvSpPr/>
          <p:nvPr/>
        </p:nvSpPr>
        <p:spPr>
          <a:xfrm>
            <a:off x="6382680" y="2787605"/>
            <a:ext cx="242607" cy="283804"/>
          </a:xfrm>
          <a:custGeom>
            <a:avLst/>
            <a:gdLst>
              <a:gd name="connsiteX0" fmla="*/ 0 w 242607"/>
              <a:gd name="connsiteY0" fmla="*/ 56761 h 283804"/>
              <a:gd name="connsiteX1" fmla="*/ 121304 w 242607"/>
              <a:gd name="connsiteY1" fmla="*/ 56761 h 283804"/>
              <a:gd name="connsiteX2" fmla="*/ 121304 w 242607"/>
              <a:gd name="connsiteY2" fmla="*/ 0 h 283804"/>
              <a:gd name="connsiteX3" fmla="*/ 242607 w 242607"/>
              <a:gd name="connsiteY3" fmla="*/ 141902 h 283804"/>
              <a:gd name="connsiteX4" fmla="*/ 121304 w 242607"/>
              <a:gd name="connsiteY4" fmla="*/ 283804 h 283804"/>
              <a:gd name="connsiteX5" fmla="*/ 121304 w 242607"/>
              <a:gd name="connsiteY5" fmla="*/ 227043 h 283804"/>
              <a:gd name="connsiteX6" fmla="*/ 0 w 242607"/>
              <a:gd name="connsiteY6" fmla="*/ 227043 h 283804"/>
              <a:gd name="connsiteX7" fmla="*/ 0 w 242607"/>
              <a:gd name="connsiteY7" fmla="*/ 56761 h 283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2607" h="283804">
                <a:moveTo>
                  <a:pt x="0" y="56761"/>
                </a:moveTo>
                <a:lnTo>
                  <a:pt x="121304" y="56761"/>
                </a:lnTo>
                <a:lnTo>
                  <a:pt x="121304" y="0"/>
                </a:lnTo>
                <a:lnTo>
                  <a:pt x="242607" y="141902"/>
                </a:lnTo>
                <a:lnTo>
                  <a:pt x="121304" y="283804"/>
                </a:lnTo>
                <a:lnTo>
                  <a:pt x="121304" y="227043"/>
                </a:lnTo>
                <a:lnTo>
                  <a:pt x="0" y="227043"/>
                </a:lnTo>
                <a:lnTo>
                  <a:pt x="0" y="56761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56761" rIns="72782" bIns="56761" numCol="1" spcCol="1270" anchor="ctr" anchorCtr="0">
            <a:noAutofit/>
          </a:bodyPr>
          <a:lstStyle/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DE" sz="1000" kern="120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2BF8E314-DCDF-623C-E276-3F0D56F91629}"/>
              </a:ext>
            </a:extLst>
          </p:cNvPr>
          <p:cNvSpPr/>
          <p:nvPr/>
        </p:nvSpPr>
        <p:spPr>
          <a:xfrm>
            <a:off x="7984803" y="2787605"/>
            <a:ext cx="242607" cy="283804"/>
          </a:xfrm>
          <a:custGeom>
            <a:avLst/>
            <a:gdLst>
              <a:gd name="connsiteX0" fmla="*/ 0 w 242607"/>
              <a:gd name="connsiteY0" fmla="*/ 56761 h 283804"/>
              <a:gd name="connsiteX1" fmla="*/ 121304 w 242607"/>
              <a:gd name="connsiteY1" fmla="*/ 56761 h 283804"/>
              <a:gd name="connsiteX2" fmla="*/ 121304 w 242607"/>
              <a:gd name="connsiteY2" fmla="*/ 0 h 283804"/>
              <a:gd name="connsiteX3" fmla="*/ 242607 w 242607"/>
              <a:gd name="connsiteY3" fmla="*/ 141902 h 283804"/>
              <a:gd name="connsiteX4" fmla="*/ 121304 w 242607"/>
              <a:gd name="connsiteY4" fmla="*/ 283804 h 283804"/>
              <a:gd name="connsiteX5" fmla="*/ 121304 w 242607"/>
              <a:gd name="connsiteY5" fmla="*/ 227043 h 283804"/>
              <a:gd name="connsiteX6" fmla="*/ 0 w 242607"/>
              <a:gd name="connsiteY6" fmla="*/ 227043 h 283804"/>
              <a:gd name="connsiteX7" fmla="*/ 0 w 242607"/>
              <a:gd name="connsiteY7" fmla="*/ 56761 h 283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2607" h="283804">
                <a:moveTo>
                  <a:pt x="0" y="56761"/>
                </a:moveTo>
                <a:lnTo>
                  <a:pt x="121304" y="56761"/>
                </a:lnTo>
                <a:lnTo>
                  <a:pt x="121304" y="0"/>
                </a:lnTo>
                <a:lnTo>
                  <a:pt x="242607" y="141902"/>
                </a:lnTo>
                <a:lnTo>
                  <a:pt x="121304" y="283804"/>
                </a:lnTo>
                <a:lnTo>
                  <a:pt x="121304" y="227043"/>
                </a:lnTo>
                <a:lnTo>
                  <a:pt x="0" y="227043"/>
                </a:lnTo>
                <a:lnTo>
                  <a:pt x="0" y="56761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56761" rIns="72782" bIns="56761" numCol="1" spcCol="1270" anchor="ctr" anchorCtr="0">
            <a:noAutofit/>
          </a:bodyPr>
          <a:lstStyle/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DE" sz="1000" kern="120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85FECE56-CE5F-121B-D2A0-6FD22DCD088B}"/>
              </a:ext>
            </a:extLst>
          </p:cNvPr>
          <p:cNvSpPr/>
          <p:nvPr/>
        </p:nvSpPr>
        <p:spPr>
          <a:xfrm>
            <a:off x="8328115" y="2505732"/>
            <a:ext cx="1144373" cy="847551"/>
          </a:xfrm>
          <a:custGeom>
            <a:avLst/>
            <a:gdLst>
              <a:gd name="connsiteX0" fmla="*/ 0 w 1144373"/>
              <a:gd name="connsiteY0" fmla="*/ 84755 h 847551"/>
              <a:gd name="connsiteX1" fmla="*/ 84755 w 1144373"/>
              <a:gd name="connsiteY1" fmla="*/ 0 h 847551"/>
              <a:gd name="connsiteX2" fmla="*/ 1059618 w 1144373"/>
              <a:gd name="connsiteY2" fmla="*/ 0 h 847551"/>
              <a:gd name="connsiteX3" fmla="*/ 1144373 w 1144373"/>
              <a:gd name="connsiteY3" fmla="*/ 84755 h 847551"/>
              <a:gd name="connsiteX4" fmla="*/ 1144373 w 1144373"/>
              <a:gd name="connsiteY4" fmla="*/ 762796 h 847551"/>
              <a:gd name="connsiteX5" fmla="*/ 1059618 w 1144373"/>
              <a:gd name="connsiteY5" fmla="*/ 847551 h 847551"/>
              <a:gd name="connsiteX6" fmla="*/ 84755 w 1144373"/>
              <a:gd name="connsiteY6" fmla="*/ 847551 h 847551"/>
              <a:gd name="connsiteX7" fmla="*/ 0 w 1144373"/>
              <a:gd name="connsiteY7" fmla="*/ 762796 h 847551"/>
              <a:gd name="connsiteX8" fmla="*/ 0 w 1144373"/>
              <a:gd name="connsiteY8" fmla="*/ 84755 h 847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4373" h="847551">
                <a:moveTo>
                  <a:pt x="0" y="84755"/>
                </a:moveTo>
                <a:cubicBezTo>
                  <a:pt x="0" y="37946"/>
                  <a:pt x="37946" y="0"/>
                  <a:pt x="84755" y="0"/>
                </a:cubicBezTo>
                <a:lnTo>
                  <a:pt x="1059618" y="0"/>
                </a:lnTo>
                <a:cubicBezTo>
                  <a:pt x="1106427" y="0"/>
                  <a:pt x="1144373" y="37946"/>
                  <a:pt x="1144373" y="84755"/>
                </a:cubicBezTo>
                <a:lnTo>
                  <a:pt x="1144373" y="762796"/>
                </a:lnTo>
                <a:cubicBezTo>
                  <a:pt x="1144373" y="809605"/>
                  <a:pt x="1106427" y="847551"/>
                  <a:pt x="1059618" y="847551"/>
                </a:cubicBezTo>
                <a:lnTo>
                  <a:pt x="84755" y="847551"/>
                </a:lnTo>
                <a:cubicBezTo>
                  <a:pt x="37946" y="847551"/>
                  <a:pt x="0" y="809605"/>
                  <a:pt x="0" y="762796"/>
                </a:cubicBezTo>
                <a:lnTo>
                  <a:pt x="0" y="84755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2924" tIns="62924" rIns="62924" bIns="62924" numCol="1" spcCol="1270" anchor="ctr" anchorCtr="0">
            <a:noAutofit/>
          </a:bodyPr>
          <a:lstStyle/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130" kern="1200" dirty="0"/>
              <a:t>Conclusions and Outlook</a:t>
            </a:r>
            <a:endParaRPr lang="en-DE" sz="1130" kern="1200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7784454D-B320-287D-965F-79D07C1C1553}"/>
              </a:ext>
            </a:extLst>
          </p:cNvPr>
          <p:cNvSpPr/>
          <p:nvPr/>
        </p:nvSpPr>
        <p:spPr>
          <a:xfrm>
            <a:off x="317501" y="2505730"/>
            <a:ext cx="1144373" cy="847551"/>
          </a:xfrm>
          <a:custGeom>
            <a:avLst/>
            <a:gdLst>
              <a:gd name="connsiteX0" fmla="*/ 0 w 1144373"/>
              <a:gd name="connsiteY0" fmla="*/ 84755 h 847551"/>
              <a:gd name="connsiteX1" fmla="*/ 84755 w 1144373"/>
              <a:gd name="connsiteY1" fmla="*/ 0 h 847551"/>
              <a:gd name="connsiteX2" fmla="*/ 1059618 w 1144373"/>
              <a:gd name="connsiteY2" fmla="*/ 0 h 847551"/>
              <a:gd name="connsiteX3" fmla="*/ 1144373 w 1144373"/>
              <a:gd name="connsiteY3" fmla="*/ 84755 h 847551"/>
              <a:gd name="connsiteX4" fmla="*/ 1144373 w 1144373"/>
              <a:gd name="connsiteY4" fmla="*/ 762796 h 847551"/>
              <a:gd name="connsiteX5" fmla="*/ 1059618 w 1144373"/>
              <a:gd name="connsiteY5" fmla="*/ 847551 h 847551"/>
              <a:gd name="connsiteX6" fmla="*/ 84755 w 1144373"/>
              <a:gd name="connsiteY6" fmla="*/ 847551 h 847551"/>
              <a:gd name="connsiteX7" fmla="*/ 0 w 1144373"/>
              <a:gd name="connsiteY7" fmla="*/ 762796 h 847551"/>
              <a:gd name="connsiteX8" fmla="*/ 0 w 1144373"/>
              <a:gd name="connsiteY8" fmla="*/ 84755 h 847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4373" h="847551">
                <a:moveTo>
                  <a:pt x="0" y="84755"/>
                </a:moveTo>
                <a:cubicBezTo>
                  <a:pt x="0" y="37946"/>
                  <a:pt x="37946" y="0"/>
                  <a:pt x="84755" y="0"/>
                </a:cubicBezTo>
                <a:lnTo>
                  <a:pt x="1059618" y="0"/>
                </a:lnTo>
                <a:cubicBezTo>
                  <a:pt x="1106427" y="0"/>
                  <a:pt x="1144373" y="37946"/>
                  <a:pt x="1144373" y="84755"/>
                </a:cubicBezTo>
                <a:lnTo>
                  <a:pt x="1144373" y="762796"/>
                </a:lnTo>
                <a:cubicBezTo>
                  <a:pt x="1144373" y="809605"/>
                  <a:pt x="1106427" y="847551"/>
                  <a:pt x="1059618" y="847551"/>
                </a:cubicBezTo>
                <a:lnTo>
                  <a:pt x="84755" y="847551"/>
                </a:lnTo>
                <a:cubicBezTo>
                  <a:pt x="37946" y="847551"/>
                  <a:pt x="0" y="809605"/>
                  <a:pt x="0" y="762796"/>
                </a:cubicBezTo>
                <a:lnTo>
                  <a:pt x="0" y="84755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2924" tIns="62924" rIns="62924" bIns="62924" numCol="1" spcCol="1270" anchor="ctr" anchorCtr="0">
            <a:noAutofit/>
          </a:bodyPr>
          <a:lstStyle/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130" kern="1200" dirty="0"/>
              <a:t>Thesis Objectives</a:t>
            </a:r>
            <a:endParaRPr lang="en-DE" sz="1130" kern="1200" dirty="0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DCFAE35F-1F00-4F97-995A-71D625A41590}"/>
              </a:ext>
            </a:extLst>
          </p:cNvPr>
          <p:cNvSpPr/>
          <p:nvPr/>
        </p:nvSpPr>
        <p:spPr>
          <a:xfrm>
            <a:off x="1911529" y="2505731"/>
            <a:ext cx="1144373" cy="847551"/>
          </a:xfrm>
          <a:custGeom>
            <a:avLst/>
            <a:gdLst>
              <a:gd name="connsiteX0" fmla="*/ 0 w 1144373"/>
              <a:gd name="connsiteY0" fmla="*/ 84755 h 847551"/>
              <a:gd name="connsiteX1" fmla="*/ 84755 w 1144373"/>
              <a:gd name="connsiteY1" fmla="*/ 0 h 847551"/>
              <a:gd name="connsiteX2" fmla="*/ 1059618 w 1144373"/>
              <a:gd name="connsiteY2" fmla="*/ 0 h 847551"/>
              <a:gd name="connsiteX3" fmla="*/ 1144373 w 1144373"/>
              <a:gd name="connsiteY3" fmla="*/ 84755 h 847551"/>
              <a:gd name="connsiteX4" fmla="*/ 1144373 w 1144373"/>
              <a:gd name="connsiteY4" fmla="*/ 762796 h 847551"/>
              <a:gd name="connsiteX5" fmla="*/ 1059618 w 1144373"/>
              <a:gd name="connsiteY5" fmla="*/ 847551 h 847551"/>
              <a:gd name="connsiteX6" fmla="*/ 84755 w 1144373"/>
              <a:gd name="connsiteY6" fmla="*/ 847551 h 847551"/>
              <a:gd name="connsiteX7" fmla="*/ 0 w 1144373"/>
              <a:gd name="connsiteY7" fmla="*/ 762796 h 847551"/>
              <a:gd name="connsiteX8" fmla="*/ 0 w 1144373"/>
              <a:gd name="connsiteY8" fmla="*/ 84755 h 847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4373" h="847551">
                <a:moveTo>
                  <a:pt x="0" y="84755"/>
                </a:moveTo>
                <a:cubicBezTo>
                  <a:pt x="0" y="37946"/>
                  <a:pt x="37946" y="0"/>
                  <a:pt x="84755" y="0"/>
                </a:cubicBezTo>
                <a:lnTo>
                  <a:pt x="1059618" y="0"/>
                </a:lnTo>
                <a:cubicBezTo>
                  <a:pt x="1106427" y="0"/>
                  <a:pt x="1144373" y="37946"/>
                  <a:pt x="1144373" y="84755"/>
                </a:cubicBezTo>
                <a:lnTo>
                  <a:pt x="1144373" y="762796"/>
                </a:lnTo>
                <a:cubicBezTo>
                  <a:pt x="1144373" y="809605"/>
                  <a:pt x="1106427" y="847551"/>
                  <a:pt x="1059618" y="847551"/>
                </a:cubicBezTo>
                <a:lnTo>
                  <a:pt x="84755" y="847551"/>
                </a:lnTo>
                <a:cubicBezTo>
                  <a:pt x="37946" y="847551"/>
                  <a:pt x="0" y="809605"/>
                  <a:pt x="0" y="762796"/>
                </a:cubicBezTo>
                <a:lnTo>
                  <a:pt x="0" y="84755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2924" tIns="62924" rIns="62924" bIns="62924" numCol="1" spcCol="1270" anchor="ctr" anchorCtr="0">
            <a:noAutofit/>
          </a:bodyPr>
          <a:lstStyle/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130" kern="1200" dirty="0"/>
              <a:t>Fundamentals</a:t>
            </a:r>
            <a:endParaRPr lang="en-DE" sz="1130" kern="1200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25B3E887-CB24-FDDF-D69F-32AB53E51ABA}"/>
              </a:ext>
            </a:extLst>
          </p:cNvPr>
          <p:cNvSpPr/>
          <p:nvPr/>
        </p:nvSpPr>
        <p:spPr>
          <a:xfrm>
            <a:off x="3505557" y="2505729"/>
            <a:ext cx="1144373" cy="847551"/>
          </a:xfrm>
          <a:custGeom>
            <a:avLst/>
            <a:gdLst>
              <a:gd name="connsiteX0" fmla="*/ 0 w 1144373"/>
              <a:gd name="connsiteY0" fmla="*/ 84755 h 847551"/>
              <a:gd name="connsiteX1" fmla="*/ 84755 w 1144373"/>
              <a:gd name="connsiteY1" fmla="*/ 0 h 847551"/>
              <a:gd name="connsiteX2" fmla="*/ 1059618 w 1144373"/>
              <a:gd name="connsiteY2" fmla="*/ 0 h 847551"/>
              <a:gd name="connsiteX3" fmla="*/ 1144373 w 1144373"/>
              <a:gd name="connsiteY3" fmla="*/ 84755 h 847551"/>
              <a:gd name="connsiteX4" fmla="*/ 1144373 w 1144373"/>
              <a:gd name="connsiteY4" fmla="*/ 762796 h 847551"/>
              <a:gd name="connsiteX5" fmla="*/ 1059618 w 1144373"/>
              <a:gd name="connsiteY5" fmla="*/ 847551 h 847551"/>
              <a:gd name="connsiteX6" fmla="*/ 84755 w 1144373"/>
              <a:gd name="connsiteY6" fmla="*/ 847551 h 847551"/>
              <a:gd name="connsiteX7" fmla="*/ 0 w 1144373"/>
              <a:gd name="connsiteY7" fmla="*/ 762796 h 847551"/>
              <a:gd name="connsiteX8" fmla="*/ 0 w 1144373"/>
              <a:gd name="connsiteY8" fmla="*/ 84755 h 847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4373" h="847551">
                <a:moveTo>
                  <a:pt x="0" y="84755"/>
                </a:moveTo>
                <a:cubicBezTo>
                  <a:pt x="0" y="37946"/>
                  <a:pt x="37946" y="0"/>
                  <a:pt x="84755" y="0"/>
                </a:cubicBezTo>
                <a:lnTo>
                  <a:pt x="1059618" y="0"/>
                </a:lnTo>
                <a:cubicBezTo>
                  <a:pt x="1106427" y="0"/>
                  <a:pt x="1144373" y="37946"/>
                  <a:pt x="1144373" y="84755"/>
                </a:cubicBezTo>
                <a:lnTo>
                  <a:pt x="1144373" y="762796"/>
                </a:lnTo>
                <a:cubicBezTo>
                  <a:pt x="1144373" y="809605"/>
                  <a:pt x="1106427" y="847551"/>
                  <a:pt x="1059618" y="847551"/>
                </a:cubicBezTo>
                <a:lnTo>
                  <a:pt x="84755" y="847551"/>
                </a:lnTo>
                <a:cubicBezTo>
                  <a:pt x="37946" y="847551"/>
                  <a:pt x="0" y="809605"/>
                  <a:pt x="0" y="762796"/>
                </a:cubicBezTo>
                <a:lnTo>
                  <a:pt x="0" y="84755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2924" tIns="62924" rIns="62924" bIns="62924" numCol="1" spcCol="1270" anchor="ctr" anchorCtr="0">
            <a:noAutofit/>
          </a:bodyPr>
          <a:lstStyle/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130" kern="1200" dirty="0"/>
              <a:t>Simulation</a:t>
            </a:r>
            <a:r>
              <a:rPr lang="en-US" sz="1130" dirty="0"/>
              <a:t> </a:t>
            </a:r>
            <a:r>
              <a:rPr lang="en-US" sz="1130" kern="1200" dirty="0"/>
              <a:t>Methodology</a:t>
            </a:r>
            <a:endParaRPr lang="en-DE" sz="1130" kern="1200" dirty="0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F7EABDBF-9D55-446D-9A83-FF29F670C6BA}"/>
              </a:ext>
            </a:extLst>
          </p:cNvPr>
          <p:cNvSpPr/>
          <p:nvPr/>
        </p:nvSpPr>
        <p:spPr>
          <a:xfrm>
            <a:off x="5115774" y="2505728"/>
            <a:ext cx="1144373" cy="847551"/>
          </a:xfrm>
          <a:custGeom>
            <a:avLst/>
            <a:gdLst>
              <a:gd name="connsiteX0" fmla="*/ 0 w 1144373"/>
              <a:gd name="connsiteY0" fmla="*/ 84755 h 847551"/>
              <a:gd name="connsiteX1" fmla="*/ 84755 w 1144373"/>
              <a:gd name="connsiteY1" fmla="*/ 0 h 847551"/>
              <a:gd name="connsiteX2" fmla="*/ 1059618 w 1144373"/>
              <a:gd name="connsiteY2" fmla="*/ 0 h 847551"/>
              <a:gd name="connsiteX3" fmla="*/ 1144373 w 1144373"/>
              <a:gd name="connsiteY3" fmla="*/ 84755 h 847551"/>
              <a:gd name="connsiteX4" fmla="*/ 1144373 w 1144373"/>
              <a:gd name="connsiteY4" fmla="*/ 762796 h 847551"/>
              <a:gd name="connsiteX5" fmla="*/ 1059618 w 1144373"/>
              <a:gd name="connsiteY5" fmla="*/ 847551 h 847551"/>
              <a:gd name="connsiteX6" fmla="*/ 84755 w 1144373"/>
              <a:gd name="connsiteY6" fmla="*/ 847551 h 847551"/>
              <a:gd name="connsiteX7" fmla="*/ 0 w 1144373"/>
              <a:gd name="connsiteY7" fmla="*/ 762796 h 847551"/>
              <a:gd name="connsiteX8" fmla="*/ 0 w 1144373"/>
              <a:gd name="connsiteY8" fmla="*/ 84755 h 847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4373" h="847551">
                <a:moveTo>
                  <a:pt x="0" y="84755"/>
                </a:moveTo>
                <a:cubicBezTo>
                  <a:pt x="0" y="37946"/>
                  <a:pt x="37946" y="0"/>
                  <a:pt x="84755" y="0"/>
                </a:cubicBezTo>
                <a:lnTo>
                  <a:pt x="1059618" y="0"/>
                </a:lnTo>
                <a:cubicBezTo>
                  <a:pt x="1106427" y="0"/>
                  <a:pt x="1144373" y="37946"/>
                  <a:pt x="1144373" y="84755"/>
                </a:cubicBezTo>
                <a:lnTo>
                  <a:pt x="1144373" y="762796"/>
                </a:lnTo>
                <a:cubicBezTo>
                  <a:pt x="1144373" y="809605"/>
                  <a:pt x="1106427" y="847551"/>
                  <a:pt x="1059618" y="847551"/>
                </a:cubicBezTo>
                <a:lnTo>
                  <a:pt x="84755" y="847551"/>
                </a:lnTo>
                <a:cubicBezTo>
                  <a:pt x="37946" y="847551"/>
                  <a:pt x="0" y="809605"/>
                  <a:pt x="0" y="762796"/>
                </a:cubicBezTo>
                <a:lnTo>
                  <a:pt x="0" y="84755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2924" tIns="62924" rIns="62924" bIns="62924" numCol="1" spcCol="1270" anchor="ctr" anchorCtr="0">
            <a:noAutofit/>
          </a:bodyPr>
          <a:lstStyle/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130" kern="1200" dirty="0"/>
              <a:t>Aerodynamic</a:t>
            </a:r>
            <a:r>
              <a:rPr lang="en-US" sz="1130" dirty="0"/>
              <a:t> </a:t>
            </a:r>
            <a:r>
              <a:rPr lang="en-US" sz="1130" kern="1200" dirty="0"/>
              <a:t>Investigation:</a:t>
            </a:r>
          </a:p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130" kern="1200" dirty="0"/>
              <a:t>Simple Motions</a:t>
            </a:r>
            <a:endParaRPr lang="en-DE" sz="1130" kern="1200" dirty="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6323058-0416-A13E-4C35-7834C42E0061}"/>
              </a:ext>
            </a:extLst>
          </p:cNvPr>
          <p:cNvSpPr/>
          <p:nvPr/>
        </p:nvSpPr>
        <p:spPr>
          <a:xfrm>
            <a:off x="6709802" y="2505727"/>
            <a:ext cx="1144373" cy="847551"/>
          </a:xfrm>
          <a:custGeom>
            <a:avLst/>
            <a:gdLst>
              <a:gd name="connsiteX0" fmla="*/ 0 w 1144373"/>
              <a:gd name="connsiteY0" fmla="*/ 84755 h 847551"/>
              <a:gd name="connsiteX1" fmla="*/ 84755 w 1144373"/>
              <a:gd name="connsiteY1" fmla="*/ 0 h 847551"/>
              <a:gd name="connsiteX2" fmla="*/ 1059618 w 1144373"/>
              <a:gd name="connsiteY2" fmla="*/ 0 h 847551"/>
              <a:gd name="connsiteX3" fmla="*/ 1144373 w 1144373"/>
              <a:gd name="connsiteY3" fmla="*/ 84755 h 847551"/>
              <a:gd name="connsiteX4" fmla="*/ 1144373 w 1144373"/>
              <a:gd name="connsiteY4" fmla="*/ 762796 h 847551"/>
              <a:gd name="connsiteX5" fmla="*/ 1059618 w 1144373"/>
              <a:gd name="connsiteY5" fmla="*/ 847551 h 847551"/>
              <a:gd name="connsiteX6" fmla="*/ 84755 w 1144373"/>
              <a:gd name="connsiteY6" fmla="*/ 847551 h 847551"/>
              <a:gd name="connsiteX7" fmla="*/ 0 w 1144373"/>
              <a:gd name="connsiteY7" fmla="*/ 762796 h 847551"/>
              <a:gd name="connsiteX8" fmla="*/ 0 w 1144373"/>
              <a:gd name="connsiteY8" fmla="*/ 84755 h 847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44373" h="847551">
                <a:moveTo>
                  <a:pt x="0" y="84755"/>
                </a:moveTo>
                <a:cubicBezTo>
                  <a:pt x="0" y="37946"/>
                  <a:pt x="37946" y="0"/>
                  <a:pt x="84755" y="0"/>
                </a:cubicBezTo>
                <a:lnTo>
                  <a:pt x="1059618" y="0"/>
                </a:lnTo>
                <a:cubicBezTo>
                  <a:pt x="1106427" y="0"/>
                  <a:pt x="1144373" y="37946"/>
                  <a:pt x="1144373" y="84755"/>
                </a:cubicBezTo>
                <a:lnTo>
                  <a:pt x="1144373" y="762796"/>
                </a:lnTo>
                <a:cubicBezTo>
                  <a:pt x="1144373" y="809605"/>
                  <a:pt x="1106427" y="847551"/>
                  <a:pt x="1059618" y="847551"/>
                </a:cubicBezTo>
                <a:lnTo>
                  <a:pt x="84755" y="847551"/>
                </a:lnTo>
                <a:cubicBezTo>
                  <a:pt x="37946" y="847551"/>
                  <a:pt x="0" y="809605"/>
                  <a:pt x="0" y="762796"/>
                </a:cubicBezTo>
                <a:lnTo>
                  <a:pt x="0" y="84755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2924" tIns="62924" rIns="62924" bIns="62924" numCol="1" spcCol="1270" anchor="ctr" anchorCtr="0">
            <a:noAutofit/>
          </a:bodyPr>
          <a:lstStyle/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130" kern="1200" dirty="0"/>
              <a:t>Aerodynamic Investigation:</a:t>
            </a:r>
            <a:endParaRPr lang="en-US" sz="1130" dirty="0"/>
          </a:p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130" kern="1200" dirty="0"/>
              <a:t>Complex Modes</a:t>
            </a:r>
            <a:endParaRPr lang="en-DE" sz="1130" kern="1200" dirty="0"/>
          </a:p>
        </p:txBody>
      </p:sp>
    </p:spTree>
    <p:extLst>
      <p:ext uri="{BB962C8B-B14F-4D97-AF65-F5344CB8AC3E}">
        <p14:creationId xmlns:p14="http://schemas.microsoft.com/office/powerpoint/2010/main" val="20335613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  <p:bldP spid="10" grpId="0" animBg="1"/>
      <p:bldP spid="12" grpId="0" animBg="1"/>
      <p:bldP spid="14" grpId="0" animBg="1"/>
      <p:bldP spid="15" grpId="0" animBg="1"/>
      <p:bldP spid="17" grpId="0" animBg="1"/>
      <p:bldP spid="18" grpId="0" animBg="1"/>
      <p:bldP spid="19" grpId="0" animBg="1"/>
      <p:bldP spid="20" grpId="0" animBg="1"/>
      <p:bldP spid="21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935BC8-13F1-EAA8-5317-C6CA81A805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158" y="337220"/>
            <a:ext cx="8960000" cy="385252"/>
          </a:xfrm>
        </p:spPr>
        <p:txBody>
          <a:bodyPr/>
          <a:lstStyle/>
          <a:p>
            <a:r>
              <a:rPr lang="en-GB" dirty="0"/>
              <a:t>Outloo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9290C1-55B0-5D93-3E41-709A8E48B02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67595C3-5281-3965-04D9-A386D48AB03F}"/>
              </a:ext>
            </a:extLst>
          </p:cNvPr>
          <p:cNvSpPr txBox="1"/>
          <p:nvPr/>
        </p:nvSpPr>
        <p:spPr>
          <a:xfrm>
            <a:off x="334786" y="1705372"/>
            <a:ext cx="7913566" cy="24773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lnSpc>
                <a:spcPct val="125000"/>
              </a:lnSpc>
              <a:buFont typeface="Wingdings" panose="05000000000000000000" pitchFamily="2" charset="2"/>
              <a:buChar char="§"/>
            </a:pPr>
            <a:r>
              <a:rPr lang="en-US">
                <a:latin typeface="+mn-lt"/>
              </a:rPr>
              <a:t>CFD</a:t>
            </a:r>
            <a:r>
              <a:rPr lang="en-US" sz="1800">
                <a:latin typeface="+mn-lt"/>
              </a:rPr>
              <a:t> verification </a:t>
            </a:r>
            <a:r>
              <a:rPr lang="en-US" sz="1800" dirty="0">
                <a:latin typeface="+mn-lt"/>
              </a:rPr>
              <a:t>and wind tunnel testing.</a:t>
            </a:r>
          </a:p>
          <a:p>
            <a:pPr marL="171450" indent="-171450">
              <a:lnSpc>
                <a:spcPct val="125000"/>
              </a:lnSpc>
              <a:buFont typeface="Wingdings" panose="05000000000000000000" pitchFamily="2" charset="2"/>
              <a:buChar char="§"/>
            </a:pPr>
            <a:endParaRPr lang="en-GB" sz="1800" dirty="0">
              <a:latin typeface="+mn-lt"/>
            </a:endParaRPr>
          </a:p>
          <a:p>
            <a:pPr marL="171450" indent="-171450">
              <a:lnSpc>
                <a:spcPct val="125000"/>
              </a:lnSpc>
              <a:buFont typeface="Wingdings" panose="05000000000000000000" pitchFamily="2" charset="2"/>
              <a:buChar char="§"/>
            </a:pPr>
            <a:r>
              <a:rPr lang="en-US" sz="1800" dirty="0">
                <a:latin typeface="+mn-lt"/>
              </a:rPr>
              <a:t>Advance propeller-wing configurations.</a:t>
            </a:r>
          </a:p>
          <a:p>
            <a:pPr marL="171450" indent="-171450">
              <a:lnSpc>
                <a:spcPct val="125000"/>
              </a:lnSpc>
              <a:buFont typeface="Wingdings" panose="05000000000000000000" pitchFamily="2" charset="2"/>
              <a:buChar char="§"/>
            </a:pPr>
            <a:endParaRPr lang="en-GB" sz="1800" dirty="0">
              <a:latin typeface="+mn-lt"/>
            </a:endParaRPr>
          </a:p>
          <a:p>
            <a:pPr marL="171450" indent="-171450">
              <a:lnSpc>
                <a:spcPct val="125000"/>
              </a:lnSpc>
              <a:buFont typeface="Wingdings" panose="05000000000000000000" pitchFamily="2" charset="2"/>
              <a:buChar char="§"/>
            </a:pPr>
            <a:r>
              <a:rPr lang="en-US" sz="1800" dirty="0">
                <a:latin typeface="+mn-lt"/>
              </a:rPr>
              <a:t>Further exploration of flexible propeller-wing attachment models</a:t>
            </a:r>
            <a:r>
              <a:rPr lang="en-GB" sz="1800" dirty="0">
                <a:latin typeface="+mn-lt"/>
              </a:rPr>
              <a:t>. </a:t>
            </a:r>
          </a:p>
          <a:p>
            <a:pPr marL="171450" indent="-171450">
              <a:lnSpc>
                <a:spcPct val="125000"/>
              </a:lnSpc>
              <a:buFont typeface="Wingdings" panose="05000000000000000000" pitchFamily="2" charset="2"/>
              <a:buChar char="§"/>
            </a:pPr>
            <a:endParaRPr lang="en-GB" sz="1800" dirty="0">
              <a:latin typeface="+mn-lt"/>
            </a:endParaRPr>
          </a:p>
          <a:p>
            <a:pPr marL="171450" indent="-171450">
              <a:lnSpc>
                <a:spcPct val="125000"/>
              </a:lnSpc>
              <a:buFont typeface="Wingdings" panose="05000000000000000000" pitchFamily="2" charset="2"/>
              <a:buChar char="§"/>
            </a:pPr>
            <a:r>
              <a:rPr lang="en-US" sz="1800" dirty="0">
                <a:latin typeface="+mn-lt"/>
              </a:rPr>
              <a:t>Advanced simulation techniques.</a:t>
            </a:r>
            <a:endParaRPr lang="en-GB" sz="18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755409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4431D5FD-534B-35E5-9931-93C0A960914B}"/>
              </a:ext>
            </a:extLst>
          </p:cNvPr>
          <p:cNvSpPr/>
          <p:nvPr/>
        </p:nvSpPr>
        <p:spPr>
          <a:xfrm>
            <a:off x="3560492" y="2353444"/>
            <a:ext cx="272222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4000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71506974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1193C0-9C08-F9B1-2BAF-69D1FB836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0" y="95261"/>
            <a:ext cx="8960000" cy="385252"/>
          </a:xfrm>
        </p:spPr>
        <p:txBody>
          <a:bodyPr/>
          <a:lstStyle/>
          <a:p>
            <a:r>
              <a:rPr lang="en-US" dirty="0"/>
              <a:t>Simulation Methodology</a:t>
            </a:r>
            <a:endParaRPr lang="en-DE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9435A9F4-0EF6-B50A-125D-F244281B67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033" y="1057302"/>
            <a:ext cx="4474468" cy="2458623"/>
          </a:xfrm>
        </p:spPr>
        <p:txBody>
          <a:bodyPr/>
          <a:lstStyle/>
          <a:p>
            <a:pPr algn="ctr"/>
            <a:r>
              <a:rPr lang="en-US" sz="2000" b="1" dirty="0">
                <a:solidFill>
                  <a:schemeClr val="accent3">
                    <a:lumMod val="75000"/>
                  </a:schemeClr>
                </a:solidFill>
              </a:rPr>
              <a:t>DUST</a:t>
            </a:r>
          </a:p>
          <a:p>
            <a:pPr algn="ctr"/>
            <a:endParaRPr lang="en-US" b="1" u="sng" dirty="0">
              <a:solidFill>
                <a:schemeClr val="accent3">
                  <a:lumMod val="75000"/>
                </a:schemeClr>
              </a:solidFill>
            </a:endParaRPr>
          </a:p>
          <a:p>
            <a:pPr marL="285744" indent="-285744">
              <a:lnSpc>
                <a:spcPct val="125000"/>
              </a:lnSpc>
              <a:buFont typeface="Wingdings" panose="05000000000000000000" pitchFamily="2" charset="2"/>
              <a:buChar char="§"/>
            </a:pPr>
            <a:r>
              <a:rPr lang="en-US" sz="1500" dirty="0"/>
              <a:t>Aerodynamic solver (open source).</a:t>
            </a:r>
          </a:p>
          <a:p>
            <a:pPr marL="285744" indent="-285744">
              <a:lnSpc>
                <a:spcPct val="125000"/>
              </a:lnSpc>
              <a:buFont typeface="Wingdings" panose="05000000000000000000" pitchFamily="2" charset="2"/>
              <a:buChar char="§"/>
            </a:pPr>
            <a:r>
              <a:rPr lang="en-US" sz="1500" dirty="0"/>
              <a:t>Calculates forces based on </a:t>
            </a:r>
            <a:r>
              <a:rPr lang="en-US" sz="1500" u="sng" dirty="0"/>
              <a:t>Potential Flow Theory</a:t>
            </a:r>
            <a:r>
              <a:rPr lang="en-US" sz="1500" dirty="0">
                <a:solidFill>
                  <a:schemeClr val="accent3">
                    <a:lumMod val="75000"/>
                  </a:schemeClr>
                </a:solidFill>
              </a:rPr>
              <a:t> </a:t>
            </a:r>
            <a:r>
              <a:rPr lang="en-US" sz="1500" dirty="0"/>
              <a:t>(no compressibility* or viscous effects).</a:t>
            </a:r>
          </a:p>
          <a:p>
            <a:pPr marL="285744" indent="-285744">
              <a:lnSpc>
                <a:spcPct val="125000"/>
              </a:lnSpc>
              <a:buFont typeface="Wingdings" panose="05000000000000000000" pitchFamily="2" charset="2"/>
              <a:buChar char="§"/>
            </a:pPr>
            <a:r>
              <a:rPr lang="en-US" sz="1500" dirty="0"/>
              <a:t>Models are built using </a:t>
            </a:r>
            <a:r>
              <a:rPr lang="en-US" sz="1500" u="sng" dirty="0"/>
              <a:t>surface panels</a:t>
            </a:r>
            <a:r>
              <a:rPr lang="en-US" sz="1500" dirty="0"/>
              <a:t> or </a:t>
            </a:r>
            <a:r>
              <a:rPr lang="en-US" sz="1500" u="sng" dirty="0"/>
              <a:t>lifting line</a:t>
            </a:r>
            <a:r>
              <a:rPr lang="en-US" sz="1500" dirty="0"/>
              <a:t> elements.</a:t>
            </a:r>
          </a:p>
          <a:p>
            <a:endParaRPr lang="en-US" u="sng" dirty="0">
              <a:solidFill>
                <a:schemeClr val="accent3">
                  <a:lumMod val="75000"/>
                </a:scheme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5A437F0-E954-5172-B2BF-1503C4F546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5771" y="3443916"/>
            <a:ext cx="3995267" cy="178984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5D3D0A1-E026-2CEB-9243-3E374E3AA68A}"/>
              </a:ext>
            </a:extLst>
          </p:cNvPr>
          <p:cNvSpPr txBox="1"/>
          <p:nvPr/>
        </p:nvSpPr>
        <p:spPr>
          <a:xfrm>
            <a:off x="4941517" y="1057301"/>
            <a:ext cx="4474467" cy="2056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>
                <a:solidFill>
                  <a:srgbClr val="0C9088">
                    <a:lumMod val="75000"/>
                  </a:srgbClr>
                </a:solidFill>
                <a:latin typeface="Verdana" pitchFamily="34" charset="0"/>
              </a:rPr>
              <a:t>preCICE</a:t>
            </a:r>
          </a:p>
          <a:p>
            <a:pPr algn="ctr" eaLnBrk="0" hangingPunct="0">
              <a:spcBef>
                <a:spcPts val="0"/>
              </a:spcBef>
              <a:spcAft>
                <a:spcPts val="0"/>
              </a:spcAft>
              <a:defRPr/>
            </a:pPr>
            <a:endParaRPr lang="en-US" sz="1600" b="1" u="sng" dirty="0">
              <a:solidFill>
                <a:srgbClr val="0C9088">
                  <a:lumMod val="75000"/>
                </a:srgbClr>
              </a:solidFill>
              <a:latin typeface="Verdana" pitchFamily="34" charset="0"/>
            </a:endParaRPr>
          </a:p>
          <a:p>
            <a:pPr marL="285744" indent="-285744" eaLnBrk="0" hangingPunct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1500" dirty="0">
                <a:latin typeface="Verdana" pitchFamily="34" charset="0"/>
              </a:rPr>
              <a:t>Coupling library (open source).</a:t>
            </a:r>
          </a:p>
          <a:p>
            <a:pPr marL="285744" indent="-285744" eaLnBrk="0" hangingPunct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1500" dirty="0">
                <a:latin typeface="Verdana" pitchFamily="34" charset="0"/>
              </a:rPr>
              <a:t>Used to </a:t>
            </a:r>
            <a:r>
              <a:rPr lang="en-GB" sz="1500" dirty="0">
                <a:latin typeface="Verdana" pitchFamily="34" charset="0"/>
              </a:rPr>
              <a:t>synchronise</a:t>
            </a:r>
            <a:r>
              <a:rPr lang="en-US" sz="1500" dirty="0">
                <a:latin typeface="Verdana" pitchFamily="34" charset="0"/>
              </a:rPr>
              <a:t> data transfer between two or more solvers.</a:t>
            </a:r>
          </a:p>
          <a:p>
            <a:pPr marL="285744" indent="-285744" eaLnBrk="0" hangingPunct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1500" dirty="0">
                <a:latin typeface="Verdana" pitchFamily="34" charset="0"/>
              </a:rPr>
              <a:t>Written in C++, with additional bindings in </a:t>
            </a:r>
            <a:r>
              <a:rPr lang="en-US" sz="1500" u="sng" dirty="0">
                <a:latin typeface="Verdana" pitchFamily="34" charset="0"/>
              </a:rPr>
              <a:t>Python</a:t>
            </a:r>
            <a:r>
              <a:rPr lang="en-US" sz="1500" dirty="0">
                <a:latin typeface="Verdana" pitchFamily="34" charset="0"/>
              </a:rPr>
              <a:t>, Fortran, Rust, etc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5FDE5AB-80C7-97D7-4250-9ED4E0DB3FC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37" b="1"/>
          <a:stretch/>
        </p:blipFill>
        <p:spPr bwMode="auto">
          <a:xfrm>
            <a:off x="5176915" y="3443916"/>
            <a:ext cx="4293932" cy="189259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8FE536C-D712-0EC0-85B8-C528AB1EA7B3}"/>
              </a:ext>
            </a:extLst>
          </p:cNvPr>
          <p:cNvCxnSpPr/>
          <p:nvPr/>
        </p:nvCxnSpPr>
        <p:spPr>
          <a:xfrm>
            <a:off x="4863976" y="1026561"/>
            <a:ext cx="0" cy="4279212"/>
          </a:xfrm>
          <a:prstGeom prst="line">
            <a:avLst/>
          </a:prstGeom>
          <a:ln w="158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26C59B9C-C4A9-ACA9-C1C2-ADF61F17880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17500" y="481237"/>
            <a:ext cx="8960000" cy="385252"/>
          </a:xfrm>
        </p:spPr>
        <p:txBody>
          <a:bodyPr/>
          <a:lstStyle/>
          <a:p>
            <a:r>
              <a:rPr lang="en-US" dirty="0"/>
              <a:t>Existing Software Tools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632441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B7A04F-36A4-8176-C34F-08ED6BF46F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675" y="433412"/>
            <a:ext cx="8960000" cy="385252"/>
          </a:xfrm>
        </p:spPr>
        <p:txBody>
          <a:bodyPr/>
          <a:lstStyle/>
          <a:p>
            <a:r>
              <a:rPr lang="en-GB" dirty="0"/>
              <a:t>Validation Stud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2C3BFA-8D9F-43F5-21D5-6F2867CCA1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lnSpc>
                <a:spcPct val="125000"/>
              </a:lnSpc>
              <a:buFont typeface="+mj-lt"/>
              <a:buAutoNum type="arabicPeriod"/>
            </a:pPr>
            <a:r>
              <a:rPr lang="en-GB" sz="1300" b="1" dirty="0">
                <a:solidFill>
                  <a:schemeClr val="accent3">
                    <a:lumMod val="75000"/>
                  </a:schemeClr>
                </a:solidFill>
              </a:rPr>
              <a:t>Pitching/Plunging Motions of a Standalone Wing: </a:t>
            </a:r>
          </a:p>
          <a:p>
            <a:pPr marL="171450" indent="-171450">
              <a:lnSpc>
                <a:spcPct val="125000"/>
              </a:lnSpc>
              <a:buFont typeface="Wingdings" panose="05000000000000000000" pitchFamily="2" charset="2"/>
              <a:buChar char="§"/>
            </a:pPr>
            <a:r>
              <a:rPr lang="en-GB" sz="1300" dirty="0"/>
              <a:t>Simple wing with 3 different airfoil configurations (NACA 0004, NACA 64₂-a015 and NACA 0024) – FMI simulations performed with wing undergoing pitching and plunging motions at small oscillating amplitudes and frequencies.</a:t>
            </a:r>
          </a:p>
          <a:p>
            <a:pPr marL="171450" indent="-171450">
              <a:lnSpc>
                <a:spcPct val="125000"/>
              </a:lnSpc>
              <a:buFont typeface="Wingdings" panose="05000000000000000000" pitchFamily="2" charset="2"/>
              <a:buChar char="§"/>
            </a:pPr>
            <a:r>
              <a:rPr lang="en-GB" sz="1300" dirty="0"/>
              <a:t>Resulting lift and moment transfer functions compared to values obtained from </a:t>
            </a:r>
            <a:r>
              <a:rPr lang="en-GB" sz="1300" u="sng" dirty="0"/>
              <a:t>Theodorsen’s Unsteady Thin Airfoil Theory</a:t>
            </a:r>
            <a:r>
              <a:rPr lang="en-GB" sz="1300" dirty="0"/>
              <a:t>.</a:t>
            </a:r>
          </a:p>
          <a:p>
            <a:pPr>
              <a:lnSpc>
                <a:spcPct val="125000"/>
              </a:lnSpc>
            </a:pPr>
            <a:endParaRPr lang="en-GB" sz="1300" dirty="0"/>
          </a:p>
          <a:p>
            <a:pPr marL="342900" indent="-342900">
              <a:lnSpc>
                <a:spcPct val="125000"/>
              </a:lnSpc>
              <a:buFont typeface="+mj-lt"/>
              <a:buAutoNum type="arabicPeriod" startAt="2"/>
            </a:pPr>
            <a:r>
              <a:rPr lang="en-GB" sz="1300" b="1" dirty="0">
                <a:solidFill>
                  <a:schemeClr val="accent3">
                    <a:lumMod val="75000"/>
                  </a:schemeClr>
                </a:solidFill>
              </a:rPr>
              <a:t>Flexible Wing and its Natural Wing Modes:</a:t>
            </a:r>
          </a:p>
          <a:p>
            <a:pPr marL="171450" indent="-171450">
              <a:lnSpc>
                <a:spcPct val="125000"/>
              </a:lnSpc>
              <a:buFont typeface="Wingdings" panose="05000000000000000000" pitchFamily="2" charset="2"/>
              <a:buChar char="§"/>
            </a:pPr>
            <a:r>
              <a:rPr lang="en-GB" sz="1300" dirty="0"/>
              <a:t>(Eigen) Frequencies of the first 4 natural wing modes of the </a:t>
            </a:r>
            <a:r>
              <a:rPr lang="en-GB" sz="1300" u="sng" dirty="0"/>
              <a:t>Goland Wing</a:t>
            </a:r>
            <a:r>
              <a:rPr lang="en-GB" sz="1300" dirty="0"/>
              <a:t> compared to existing research.</a:t>
            </a:r>
          </a:p>
          <a:p>
            <a:pPr marL="171450" indent="-171450">
              <a:lnSpc>
                <a:spcPct val="125000"/>
              </a:lnSpc>
              <a:buFont typeface="Wingdings" panose="05000000000000000000" pitchFamily="2" charset="2"/>
              <a:buChar char="§"/>
            </a:pPr>
            <a:r>
              <a:rPr lang="en-GB" sz="1300" dirty="0"/>
              <a:t>FMI simulations performed at a fixed oscillating amplitude and different reduced frequencies.</a:t>
            </a:r>
          </a:p>
          <a:p>
            <a:pPr marL="171450" indent="-171450">
              <a:lnSpc>
                <a:spcPct val="125000"/>
              </a:lnSpc>
              <a:buFont typeface="Wingdings" panose="05000000000000000000" pitchFamily="2" charset="2"/>
              <a:buChar char="§"/>
            </a:pPr>
            <a:r>
              <a:rPr lang="en-GB" sz="1300" dirty="0"/>
              <a:t>Resulting lift and moment coefficients and phase shifts analysed.</a:t>
            </a:r>
          </a:p>
          <a:p>
            <a:pPr>
              <a:lnSpc>
                <a:spcPct val="125000"/>
              </a:lnSpc>
            </a:pPr>
            <a:endParaRPr lang="en-GB" sz="1300" dirty="0"/>
          </a:p>
          <a:p>
            <a:pPr marL="342900" indent="-342900">
              <a:lnSpc>
                <a:spcPct val="125000"/>
              </a:lnSpc>
              <a:buFont typeface="+mj-lt"/>
              <a:buAutoNum type="arabicPeriod" startAt="3"/>
            </a:pPr>
            <a:r>
              <a:rPr lang="en-GB" sz="1300" b="1" dirty="0">
                <a:solidFill>
                  <a:schemeClr val="accent3">
                    <a:lumMod val="75000"/>
                  </a:schemeClr>
                </a:solidFill>
              </a:rPr>
              <a:t>Propeller-Wing (Stationary) Interaction:</a:t>
            </a:r>
          </a:p>
          <a:p>
            <a:pPr marL="171450" indent="-171450">
              <a:lnSpc>
                <a:spcPct val="125000"/>
              </a:lnSpc>
              <a:buFont typeface="Wingdings" panose="05000000000000000000" pitchFamily="2" charset="2"/>
              <a:buChar char="§"/>
            </a:pPr>
            <a:r>
              <a:rPr lang="en-GB" sz="1300" dirty="0"/>
              <a:t>Existing propeller-wing interaction verified using Veldhuis’ thesis as a framework.</a:t>
            </a:r>
          </a:p>
          <a:p>
            <a:pPr marL="171450" indent="-171450">
              <a:lnSpc>
                <a:spcPct val="125000"/>
              </a:lnSpc>
              <a:buFont typeface="Wingdings" panose="05000000000000000000" pitchFamily="2" charset="2"/>
              <a:buChar char="§"/>
            </a:pPr>
            <a:r>
              <a:rPr lang="en-GB" sz="1300" dirty="0"/>
              <a:t>Propeller advance ratio, rotation direction, spanwise location and relative inclination to the wing varied.</a:t>
            </a:r>
          </a:p>
          <a:p>
            <a:pPr marL="171450" indent="-171450">
              <a:lnSpc>
                <a:spcPct val="125000"/>
              </a:lnSpc>
              <a:buFont typeface="Wingdings" panose="05000000000000000000" pitchFamily="2" charset="2"/>
              <a:buChar char="§"/>
            </a:pPr>
            <a:r>
              <a:rPr lang="en-GB" sz="1300" dirty="0"/>
              <a:t>Resulting lift and drag (inviscid) coefficient plots as well as spanwise lift distributions compared. </a:t>
            </a:r>
          </a:p>
          <a:p>
            <a:pPr marL="342900" indent="-342900">
              <a:buFont typeface="+mj-lt"/>
              <a:buAutoNum type="arabicPeriod"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450601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38ED40-9917-A294-BEA6-82CFEB6E35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lidation Studies</a:t>
            </a:r>
            <a:endParaRPr lang="en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6" name="Content Placeholder 5">
                <a:extLst>
                  <a:ext uri="{FF2B5EF4-FFF2-40B4-BE49-F238E27FC236}">
                    <a16:creationId xmlns:a16="http://schemas.microsoft.com/office/drawing/2014/main" id="{1D062EA0-CDCF-48DC-6C73-3A9678449E30}"/>
                  </a:ext>
                </a:extLst>
              </p:cNvPr>
              <p:cNvGraphicFramePr>
                <a:graphicFrameLocks noGrp="1"/>
              </p:cNvGraphicFramePr>
              <p:nvPr>
                <p:ph idx="1"/>
                <p:extLst>
                  <p:ext uri="{D42A27DB-BD31-4B8C-83A1-F6EECF244321}">
                    <p14:modId xmlns:p14="http://schemas.microsoft.com/office/powerpoint/2010/main" val="4013641695"/>
                  </p:ext>
                </p:extLst>
              </p:nvPr>
            </p:nvGraphicFramePr>
            <p:xfrm>
              <a:off x="605952" y="1153371"/>
              <a:ext cx="4186438" cy="792684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515423">
                      <a:extLst>
                        <a:ext uri="{9D8B030D-6E8A-4147-A177-3AD203B41FA5}">
                          <a16:colId xmlns:a16="http://schemas.microsoft.com/office/drawing/2014/main" val="3292926077"/>
                        </a:ext>
                      </a:extLst>
                    </a:gridCol>
                    <a:gridCol w="1671015">
                      <a:extLst>
                        <a:ext uri="{9D8B030D-6E8A-4147-A177-3AD203B41FA5}">
                          <a16:colId xmlns:a16="http://schemas.microsoft.com/office/drawing/2014/main" val="4200956874"/>
                        </a:ext>
                      </a:extLst>
                    </a:gridCol>
                  </a:tblGrid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Parameter (Fixed)</a:t>
                          </a:r>
                          <a:endParaRPr lang="en-DE" sz="1200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Value</a:t>
                          </a:r>
                          <a:endParaRPr lang="en-DE" sz="1200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765532567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Freestream velocity (</a:t>
                          </a: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US" sz="1200" i="1" smtClean="0">
                                      <a:effectLst/>
                                      <a:latin typeface="Cambria Math" panose="02040503050406030204" pitchFamily="18" charset="0"/>
                                      <a:cs typeface="Times New Roman" panose="020206030504050203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200" b="0" i="1" smtClean="0">
                                      <a:effectLst/>
                                      <a:latin typeface="Cambria Math" panose="02040503050406030204" pitchFamily="18" charset="0"/>
                                      <a:cs typeface="Times New Roman" panose="02020603050405020304" pitchFamily="18" charset="0"/>
                                    </a:rPr>
                                    <m:t>𝑢</m:t>
                                  </m:r>
                                </m:e>
                                <m:sub>
                                  <m:r>
                                    <a:rPr lang="en-US" sz="1200" i="1" smtClean="0">
                                      <a:effectLst/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Times New Roman" panose="02020603050405020304" pitchFamily="18" charset="0"/>
                                    </a:rPr>
                                    <m:t>∞</m:t>
                                  </m:r>
                                </m:sub>
                              </m:sSub>
                              <m:r>
                                <a:rPr lang="en-US" sz="1200" b="0" i="1" smtClean="0">
                                  <a:effectLst/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, </m:t>
                              </m:r>
                              <m:r>
                                <a:rPr lang="en-US" sz="1200" b="0" i="1" smtClean="0">
                                  <a:effectLst/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𝑚</m:t>
                              </m:r>
                              <m:sSup>
                                <m:sSupPr>
                                  <m:ctrlPr>
                                    <a:rPr lang="en-US" sz="1200" b="0" i="1" smtClean="0">
                                      <a:effectLst/>
                                      <a:latin typeface="Cambria Math" panose="02040503050406030204" pitchFamily="18" charset="0"/>
                                      <a:cs typeface="Times New Roman" panose="020206030504050203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200" b="0" i="1" smtClean="0">
                                      <a:effectLst/>
                                      <a:latin typeface="Cambria Math" panose="02040503050406030204" pitchFamily="18" charset="0"/>
                                      <a:cs typeface="Times New Roman" panose="02020603050405020304" pitchFamily="18" charset="0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en-US" sz="1200" b="0" i="1" smtClean="0">
                                      <a:effectLst/>
                                      <a:latin typeface="Cambria Math" panose="02040503050406030204" pitchFamily="18" charset="0"/>
                                      <a:cs typeface="Times New Roman" panose="02020603050405020304" pitchFamily="18" charset="0"/>
                                    </a:rPr>
                                    <m:t>−1</m:t>
                                  </m:r>
                                </m:sup>
                              </m:sSup>
                            </m:oMath>
                          </a14:m>
                          <a:r>
                            <a:rPr lang="en-US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50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422716494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Freestream</a:t>
                          </a:r>
                          <a:r>
                            <a:rPr lang="en-US" sz="1200" baseline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 density </a:t>
                          </a:r>
                          <a:r>
                            <a:rPr lang="en-US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(</a:t>
                          </a: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GB" sz="1200" i="1" smtClean="0">
                                      <a:effectLst/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𝜌</m:t>
                                  </m:r>
                                </m:e>
                                <m:sub>
                                  <m:r>
                                    <a:rPr lang="en-DE" sz="1200" i="1" smtClean="0">
                                      <a:effectLst/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∞</m:t>
                                  </m:r>
                                </m:sub>
                              </m:sSub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, </m:t>
                              </m:r>
                              <m:r>
                                <a:rPr lang="en-US" sz="1200" b="0" i="1" smtClean="0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𝑘𝑔</m:t>
                              </m:r>
                              <m:sSup>
                                <m:sSupPr>
                                  <m:ctrlPr>
                                    <a:rPr lang="en-US" sz="1200" b="0" i="1" smtClean="0">
                                      <a:effectLst/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200" b="0" i="1" smtClean="0">
                                      <a:effectLst/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𝑚</m:t>
                                  </m:r>
                                </m:e>
                                <m:sup>
                                  <m:r>
                                    <a:rPr lang="en-US" sz="1200" b="0" i="1" smtClean="0">
                                      <a:effectLst/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−3</m:t>
                                  </m:r>
                                </m:sup>
                              </m:sSup>
                            </m:oMath>
                          </a14:m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Arial" panose="020B0604020202020204" pitchFamily="34" charset="0"/>
                            </a:rPr>
                            <a:t>1.2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4091580403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6" name="Content Placeholder 5">
                <a:extLst>
                  <a:ext uri="{FF2B5EF4-FFF2-40B4-BE49-F238E27FC236}">
                    <a16:creationId xmlns:a16="http://schemas.microsoft.com/office/drawing/2014/main" id="{1D062EA0-CDCF-48DC-6C73-3A9678449E30}"/>
                  </a:ext>
                </a:extLst>
              </p:cNvPr>
              <p:cNvGraphicFramePr>
                <a:graphicFrameLocks noGrp="1"/>
              </p:cNvGraphicFramePr>
              <p:nvPr>
                <p:ph idx="1"/>
                <p:extLst>
                  <p:ext uri="{D42A27DB-BD31-4B8C-83A1-F6EECF244321}">
                    <p14:modId xmlns:p14="http://schemas.microsoft.com/office/powerpoint/2010/main" val="4013641695"/>
                  </p:ext>
                </p:extLst>
              </p:nvPr>
            </p:nvGraphicFramePr>
            <p:xfrm>
              <a:off x="605952" y="1153371"/>
              <a:ext cx="4186438" cy="792684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515423">
                      <a:extLst>
                        <a:ext uri="{9D8B030D-6E8A-4147-A177-3AD203B41FA5}">
                          <a16:colId xmlns:a16="http://schemas.microsoft.com/office/drawing/2014/main" val="3292926077"/>
                        </a:ext>
                      </a:extLst>
                    </a:gridCol>
                    <a:gridCol w="1671015">
                      <a:extLst>
                        <a:ext uri="{9D8B030D-6E8A-4147-A177-3AD203B41FA5}">
                          <a16:colId xmlns:a16="http://schemas.microsoft.com/office/drawing/2014/main" val="4200956874"/>
                        </a:ext>
                      </a:extLst>
                    </a:gridCol>
                  </a:tblGrid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Parameter (Fixed)</a:t>
                          </a:r>
                          <a:endParaRPr lang="en-DE" sz="1200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Value</a:t>
                          </a:r>
                          <a:endParaRPr lang="en-DE" sz="1200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765532567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2"/>
                          <a:stretch>
                            <a:fillRect l="-242" t="-113953" r="-67554" b="-11162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50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422716494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2"/>
                          <a:stretch>
                            <a:fillRect l="-242" t="-209091" r="-67554" b="-909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Arial" panose="020B0604020202020204" pitchFamily="34" charset="0"/>
                            </a:rPr>
                            <a:t>1.2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4091580403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94EA77-4737-FD1E-A05D-4B2E2F5578A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Pitching and Plunging Motions of a Standalone Wing</a:t>
            </a:r>
            <a:endParaRPr lang="en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8" name="Table 7">
                <a:extLst>
                  <a:ext uri="{FF2B5EF4-FFF2-40B4-BE49-F238E27FC236}">
                    <a16:creationId xmlns:a16="http://schemas.microsoft.com/office/drawing/2014/main" id="{A22561A6-91B7-5613-CC1B-8BF3BD6C64F1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005261887"/>
                  </p:ext>
                </p:extLst>
              </p:nvPr>
            </p:nvGraphicFramePr>
            <p:xfrm>
              <a:off x="594466" y="2027653"/>
              <a:ext cx="4186438" cy="915208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515423">
                      <a:extLst>
                        <a:ext uri="{9D8B030D-6E8A-4147-A177-3AD203B41FA5}">
                          <a16:colId xmlns:a16="http://schemas.microsoft.com/office/drawing/2014/main" val="4238621393"/>
                        </a:ext>
                      </a:extLst>
                    </a:gridCol>
                    <a:gridCol w="1671015">
                      <a:extLst>
                        <a:ext uri="{9D8B030D-6E8A-4147-A177-3AD203B41FA5}">
                          <a16:colId xmlns:a16="http://schemas.microsoft.com/office/drawing/2014/main" val="2029339879"/>
                        </a:ext>
                      </a:extLst>
                    </a:gridCol>
                  </a:tblGrid>
                  <a:tr h="226075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b="1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Parameter (Varying)</a:t>
                          </a:r>
                          <a:endParaRPr lang="en-DE" sz="1200" b="1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b="1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Range</a:t>
                          </a:r>
                          <a:endParaRPr lang="en-DE" sz="1200" b="1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018589997"/>
                      </a:ext>
                    </a:extLst>
                  </a:tr>
                  <a:tr h="236983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Wing pitch amplitude (</a:t>
                          </a: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  <m:t>𝛼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en-DE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  <m:t>𝑊</m:t>
                                      </m:r>
                                    </m:e>
                                    <m:sub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  <m:t>𝑀𝑎𝑥</m:t>
                                      </m:r>
                                    </m:sub>
                                  </m:sSub>
                                </m:sub>
                              </m:sSub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, </m:t>
                              </m:r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𝑑𝑒𝑔</m:t>
                              </m:r>
                            </m:oMath>
                          </a14:m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Arial" panose="020B0604020202020204" pitchFamily="34" charset="0"/>
                            </a:rPr>
                            <a:t>1, 2, 4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866479078"/>
                      </a:ext>
                    </a:extLst>
                  </a:tr>
                  <a:tr h="226075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Normalised plunge amplitude (</a:t>
                          </a:r>
                          <a14:m>
                            <m:oMath xmlns:m="http://schemas.openxmlformats.org/officeDocument/2006/math"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h</m:t>
                              </m:r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, −</m:t>
                              </m:r>
                            </m:oMath>
                          </a14:m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Arial" panose="020B0604020202020204" pitchFamily="34" charset="0"/>
                            </a:rPr>
                            <a:t>0.025, 0.05, 0.1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209481457"/>
                      </a:ext>
                    </a:extLst>
                  </a:tr>
                  <a:tr h="226075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Reduced frequency (</a:t>
                          </a:r>
                          <a14:m>
                            <m:oMath xmlns:m="http://schemas.openxmlformats.org/officeDocument/2006/math"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𝑘</m:t>
                              </m:r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, −</m:t>
                              </m:r>
                            </m:oMath>
                          </a14:m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Arial" panose="020B0604020202020204" pitchFamily="34" charset="0"/>
                            </a:rPr>
                            <a:t>0.101, …., 1.005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369563425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8" name="Table 7">
                <a:extLst>
                  <a:ext uri="{FF2B5EF4-FFF2-40B4-BE49-F238E27FC236}">
                    <a16:creationId xmlns:a16="http://schemas.microsoft.com/office/drawing/2014/main" id="{A22561A6-91B7-5613-CC1B-8BF3BD6C64F1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005261887"/>
                  </p:ext>
                </p:extLst>
              </p:nvPr>
            </p:nvGraphicFramePr>
            <p:xfrm>
              <a:off x="594466" y="2027653"/>
              <a:ext cx="4186438" cy="915208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515423">
                      <a:extLst>
                        <a:ext uri="{9D8B030D-6E8A-4147-A177-3AD203B41FA5}">
                          <a16:colId xmlns:a16="http://schemas.microsoft.com/office/drawing/2014/main" val="4238621393"/>
                        </a:ext>
                      </a:extLst>
                    </a:gridCol>
                    <a:gridCol w="1671015">
                      <a:extLst>
                        <a:ext uri="{9D8B030D-6E8A-4147-A177-3AD203B41FA5}">
                          <a16:colId xmlns:a16="http://schemas.microsoft.com/office/drawing/2014/main" val="2029339879"/>
                        </a:ext>
                      </a:extLst>
                    </a:gridCol>
                  </a:tblGrid>
                  <a:tr h="226075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b="1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Parameter (Varying)</a:t>
                          </a:r>
                          <a:endParaRPr lang="en-DE" sz="1200" b="1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b="1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Range</a:t>
                          </a:r>
                          <a:endParaRPr lang="en-DE" sz="1200" b="1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018589997"/>
                      </a:ext>
                    </a:extLst>
                  </a:tr>
                  <a:tr h="236983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3"/>
                          <a:stretch>
                            <a:fillRect l="-242" t="-105128" r="-67554" b="-220513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Arial" panose="020B0604020202020204" pitchFamily="34" charset="0"/>
                            </a:rPr>
                            <a:t>1, 2, 4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866479078"/>
                      </a:ext>
                    </a:extLst>
                  </a:tr>
                  <a:tr h="226075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3"/>
                          <a:stretch>
                            <a:fillRect l="-242" t="-210526" r="-67554" b="-12631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Arial" panose="020B0604020202020204" pitchFamily="34" charset="0"/>
                            </a:rPr>
                            <a:t>0.025, 0.05, 0.1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209481457"/>
                      </a:ext>
                    </a:extLst>
                  </a:tr>
                  <a:tr h="226075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3"/>
                          <a:stretch>
                            <a:fillRect l="-242" t="-318919" r="-67554" b="-2973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Arial" panose="020B0604020202020204" pitchFamily="34" charset="0"/>
                            </a:rPr>
                            <a:t>0.101, …., 1.005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369563425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D8B4533-EFCF-B987-1E09-BE27CF4D839D}"/>
              </a:ext>
            </a:extLst>
          </p:cNvPr>
          <p:cNvSpPr txBox="1">
            <a:spLocks/>
          </p:cNvSpPr>
          <p:nvPr/>
        </p:nvSpPr>
        <p:spPr bwMode="auto">
          <a:xfrm>
            <a:off x="317501" y="3229743"/>
            <a:ext cx="4906516" cy="1969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ts val="0"/>
              </a:spcBef>
              <a:spcAft>
                <a:spcPts val="0"/>
              </a:spcAft>
              <a:buFontTx/>
              <a:buNone/>
              <a:defRPr sz="1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0" indent="0" algn="l" rtl="0" eaLnBrk="0" fontAlgn="base" hangingPunct="0">
              <a:spcBef>
                <a:spcPts val="2000"/>
              </a:spcBef>
              <a:spcAft>
                <a:spcPct val="0"/>
              </a:spcAft>
              <a:buNone/>
              <a:defRPr sz="1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723900" indent="-368300" algn="l" rtl="0" eaLnBrk="0" fontAlgn="base" hangingPunct="0">
              <a:spcBef>
                <a:spcPct val="20000"/>
              </a:spcBef>
              <a:spcAft>
                <a:spcPct val="0"/>
              </a:spcAft>
              <a:buFont typeface="Verdana" pitchFamily="34" charset="0"/>
              <a:buChar char="&gt;"/>
              <a:defRPr sz="1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0" indent="0" algn="l" rtl="0" eaLnBrk="0" fontAlgn="base" hangingPunct="0">
              <a:spcBef>
                <a:spcPts val="1600"/>
              </a:spcBef>
              <a:spcAft>
                <a:spcPct val="0"/>
              </a:spcAft>
              <a:buFontTx/>
              <a:buNone/>
              <a:defRPr sz="11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723900" indent="-368300" algn="l" rtl="0" eaLnBrk="0" fontAlgn="base" hangingPunct="0">
              <a:spcBef>
                <a:spcPct val="20000"/>
              </a:spcBef>
              <a:spcAft>
                <a:spcPct val="0"/>
              </a:spcAft>
              <a:buFont typeface="Verdana" pitchFamily="34" charset="0"/>
              <a:buChar char="&gt;"/>
              <a:defRPr sz="11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44" indent="-285744">
              <a:lnSpc>
                <a:spcPct val="125000"/>
              </a:lnSpc>
              <a:buFont typeface="Wingdings" panose="05000000000000000000" pitchFamily="2" charset="2"/>
              <a:buChar char="§"/>
            </a:pPr>
            <a:r>
              <a:rPr lang="en-US" sz="1200" dirty="0"/>
              <a:t>FMI simulations performed on pitching and plunging wings at small oscillating amplitudes and reduced frequencies to maintain </a:t>
            </a:r>
            <a:r>
              <a:rPr lang="en-US" sz="1200" u="sng" dirty="0"/>
              <a:t>linearity</a:t>
            </a:r>
            <a:r>
              <a:rPr lang="en-US" sz="1200" dirty="0"/>
              <a:t>.</a:t>
            </a:r>
          </a:p>
          <a:p>
            <a:pPr marL="285744" indent="-285744">
              <a:lnSpc>
                <a:spcPct val="125000"/>
              </a:lnSpc>
              <a:buFont typeface="Wingdings" panose="05000000000000000000" pitchFamily="2" charset="2"/>
              <a:buChar char="§"/>
            </a:pPr>
            <a:r>
              <a:rPr lang="en-US" sz="1200" dirty="0"/>
              <a:t>Plots of lift and moment transfer functions for 3 different airfoil configurations show similar trends to theoretical values, indicating </a:t>
            </a:r>
            <a:r>
              <a:rPr lang="en-US" sz="1200" u="sng" dirty="0"/>
              <a:t>similar </a:t>
            </a:r>
            <a:r>
              <a:rPr lang="en-GB" sz="1200" u="sng" dirty="0"/>
              <a:t>behaviour</a:t>
            </a:r>
            <a:r>
              <a:rPr lang="en-US" sz="1200" dirty="0"/>
              <a:t>.</a:t>
            </a:r>
          </a:p>
          <a:p>
            <a:pPr marL="285744" indent="-285744">
              <a:lnSpc>
                <a:spcPct val="125000"/>
              </a:lnSpc>
              <a:buFont typeface="Wingdings" panose="05000000000000000000" pitchFamily="2" charset="2"/>
              <a:buChar char="§"/>
            </a:pPr>
            <a:r>
              <a:rPr lang="en-US" sz="1200" dirty="0"/>
              <a:t>Differences from theoretical values increase for increasing airfoil thickness as </a:t>
            </a:r>
            <a:r>
              <a:rPr lang="en-US" sz="1200" u="sng" dirty="0"/>
              <a:t>3-dimensional effects grow larger</a:t>
            </a:r>
            <a:r>
              <a:rPr lang="en-US" sz="1200" dirty="0"/>
              <a:t>.</a:t>
            </a:r>
          </a:p>
          <a:p>
            <a:pPr marL="285744" indent="-285744">
              <a:lnSpc>
                <a:spcPct val="125000"/>
              </a:lnSpc>
              <a:buFont typeface="Wingdings" panose="05000000000000000000" pitchFamily="2" charset="2"/>
              <a:buChar char="§"/>
            </a:pPr>
            <a:endParaRPr lang="en-DE" sz="15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946D895-86C7-5CC2-7DA2-D9636DBD0D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12877" y="1024296"/>
            <a:ext cx="3707814" cy="215805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B748401-1965-4FD4-7F54-0A384A498D5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66933" y="3229743"/>
            <a:ext cx="3707814" cy="2144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74131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3B723C-3764-7DE6-76BB-D5AAF2AC50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undamentals and Validation Stud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E44323-C063-5728-CF86-EAA19EC8A2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7502" y="1129308"/>
            <a:ext cx="5350448" cy="1224136"/>
          </a:xfrm>
        </p:spPr>
        <p:txBody>
          <a:bodyPr/>
          <a:lstStyle/>
          <a:p>
            <a:pPr marL="285744" indent="-285744">
              <a:lnSpc>
                <a:spcPct val="125000"/>
              </a:lnSpc>
              <a:buFont typeface="Wingdings" panose="05000000000000000000" pitchFamily="2" charset="2"/>
              <a:buChar char="§"/>
            </a:pPr>
            <a:endParaRPr lang="en-GB" sz="1500" dirty="0"/>
          </a:p>
          <a:p>
            <a:pPr marL="285744" indent="-285744">
              <a:lnSpc>
                <a:spcPct val="125000"/>
              </a:lnSpc>
              <a:buFont typeface="Wingdings" panose="05000000000000000000" pitchFamily="2" charset="2"/>
              <a:buChar char="§"/>
            </a:pPr>
            <a:r>
              <a:rPr lang="en-GB" sz="1500" dirty="0"/>
              <a:t>The </a:t>
            </a:r>
            <a:r>
              <a:rPr lang="en-GB" sz="1500" dirty="0">
                <a:solidFill>
                  <a:schemeClr val="accent3">
                    <a:lumMod val="75000"/>
                  </a:schemeClr>
                </a:solidFill>
              </a:rPr>
              <a:t>Goland Wing </a:t>
            </a:r>
            <a:r>
              <a:rPr lang="en-GB" sz="1500" dirty="0"/>
              <a:t>is a flexible wing commonly-used in aeroelastic studies and has a lot of research done upon it.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4C0AA2-CC8F-5394-F1E0-C28A0E525C7E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GB" dirty="0"/>
              <a:t>Natural Modes of a Flexible Wing</a:t>
            </a:r>
          </a:p>
        </p:txBody>
      </p:sp>
      <p:pic>
        <p:nvPicPr>
          <p:cNvPr id="5" name="Picture 4" descr="A blue and black triangle&#10;&#10;Description automatically generated">
            <a:extLst>
              <a:ext uri="{FF2B5EF4-FFF2-40B4-BE49-F238E27FC236}">
                <a16:creationId xmlns:a16="http://schemas.microsoft.com/office/drawing/2014/main" id="{018EF33F-9989-1151-71D5-6C9AFA5520B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842" t="-454" b="36470"/>
          <a:stretch/>
        </p:blipFill>
        <p:spPr bwMode="auto">
          <a:xfrm>
            <a:off x="5677100" y="985290"/>
            <a:ext cx="1800200" cy="80722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6" name="Picture 5" descr="A blue and black logo&#10;&#10;Description automatically generated">
            <a:extLst>
              <a:ext uri="{FF2B5EF4-FFF2-40B4-BE49-F238E27FC236}">
                <a16:creationId xmlns:a16="http://schemas.microsoft.com/office/drawing/2014/main" id="{E375E6A8-B81D-6631-4FBA-075EF968740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188" b="29632"/>
          <a:stretch/>
        </p:blipFill>
        <p:spPr bwMode="auto">
          <a:xfrm>
            <a:off x="7477300" y="985292"/>
            <a:ext cx="1800200" cy="80722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78F135A-2EBA-678B-019F-178469DEA221}"/>
              </a:ext>
            </a:extLst>
          </p:cNvPr>
          <p:cNvSpPr txBox="1"/>
          <p:nvPr/>
        </p:nvSpPr>
        <p:spPr>
          <a:xfrm>
            <a:off x="5677100" y="1791204"/>
            <a:ext cx="18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algn="ctr">
              <a:buFont typeface="+mj-lt"/>
              <a:buAutoNum type="alphaLcParenR"/>
            </a:pPr>
            <a:r>
              <a:rPr lang="en-GB" sz="800" b="1" dirty="0">
                <a:latin typeface="+mn-lt"/>
              </a:rPr>
              <a:t>1</a:t>
            </a:r>
            <a:r>
              <a:rPr lang="en-GB" sz="800" b="1" baseline="30000" dirty="0">
                <a:latin typeface="+mn-lt"/>
              </a:rPr>
              <a:t>st</a:t>
            </a:r>
            <a:r>
              <a:rPr lang="en-GB" sz="800" b="1" dirty="0">
                <a:latin typeface="+mn-lt"/>
              </a:rPr>
              <a:t> natural wing mode</a:t>
            </a:r>
          </a:p>
          <a:p>
            <a:pPr algn="ctr"/>
            <a:r>
              <a:rPr lang="en-GB" sz="800" b="1" dirty="0">
                <a:latin typeface="+mn-lt"/>
              </a:rPr>
              <a:t>(Pure Bending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02ED306-3959-F1B7-6C39-6934DC6F7ECB}"/>
              </a:ext>
            </a:extLst>
          </p:cNvPr>
          <p:cNvSpPr txBox="1"/>
          <p:nvPr/>
        </p:nvSpPr>
        <p:spPr>
          <a:xfrm>
            <a:off x="7477300" y="1791204"/>
            <a:ext cx="18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algn="ctr">
              <a:buFont typeface="+mj-lt"/>
              <a:buAutoNum type="alphaLcParenR" startAt="2"/>
            </a:pPr>
            <a:r>
              <a:rPr lang="en-GB" sz="800" b="1" dirty="0">
                <a:latin typeface="+mn-lt"/>
              </a:rPr>
              <a:t>2</a:t>
            </a:r>
            <a:r>
              <a:rPr lang="en-GB" sz="800" b="1" baseline="30000" dirty="0">
                <a:latin typeface="+mn-lt"/>
              </a:rPr>
              <a:t>nd</a:t>
            </a:r>
            <a:r>
              <a:rPr lang="en-GB" sz="800" b="1" dirty="0">
                <a:latin typeface="+mn-lt"/>
              </a:rPr>
              <a:t> natural wing mode</a:t>
            </a:r>
          </a:p>
          <a:p>
            <a:pPr algn="ctr"/>
            <a:r>
              <a:rPr lang="en-GB" sz="800" b="1" dirty="0">
                <a:latin typeface="+mn-lt"/>
              </a:rPr>
              <a:t>(Pure Torsional)</a:t>
            </a:r>
          </a:p>
        </p:txBody>
      </p:sp>
      <p:pic>
        <p:nvPicPr>
          <p:cNvPr id="9" name="Picture 8" descr="A blue and green kite&#10;&#10;Description automatically generated">
            <a:extLst>
              <a:ext uri="{FF2B5EF4-FFF2-40B4-BE49-F238E27FC236}">
                <a16:creationId xmlns:a16="http://schemas.microsoft.com/office/drawing/2014/main" id="{5BC1B1C1-D4E2-BB89-011C-55AE6CDC9F5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5403" b="26761"/>
          <a:stretch/>
        </p:blipFill>
        <p:spPr bwMode="auto">
          <a:xfrm>
            <a:off x="5672525" y="2191314"/>
            <a:ext cx="1800200" cy="80591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0" name="Picture 9" descr="A blue and black striped object&#10;&#10;Description automatically generated">
            <a:extLst>
              <a:ext uri="{FF2B5EF4-FFF2-40B4-BE49-F238E27FC236}">
                <a16:creationId xmlns:a16="http://schemas.microsoft.com/office/drawing/2014/main" id="{1AB5CC39-E2DD-1561-2677-4E78A51929C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7694" t="-8911" b="18844"/>
          <a:stretch/>
        </p:blipFill>
        <p:spPr bwMode="auto">
          <a:xfrm>
            <a:off x="7477300" y="2191314"/>
            <a:ext cx="1800200" cy="80591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0ED7EE8-8629-9308-D5A9-9C601EB3ADB0}"/>
              </a:ext>
            </a:extLst>
          </p:cNvPr>
          <p:cNvSpPr txBox="1"/>
          <p:nvPr/>
        </p:nvSpPr>
        <p:spPr>
          <a:xfrm>
            <a:off x="5672525" y="2995915"/>
            <a:ext cx="18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algn="ctr">
              <a:buFont typeface="+mj-lt"/>
              <a:buAutoNum type="alphaLcParenR" startAt="3"/>
            </a:pPr>
            <a:r>
              <a:rPr lang="en-GB" sz="800" b="1" dirty="0">
                <a:latin typeface="+mn-lt"/>
              </a:rPr>
              <a:t>3</a:t>
            </a:r>
            <a:r>
              <a:rPr lang="en-GB" sz="800" b="1" baseline="30000" dirty="0">
                <a:latin typeface="+mn-lt"/>
              </a:rPr>
              <a:t>rd</a:t>
            </a:r>
            <a:r>
              <a:rPr lang="en-GB" sz="800" b="1" dirty="0">
                <a:latin typeface="+mn-lt"/>
              </a:rPr>
              <a:t> natural wing mode</a:t>
            </a:r>
          </a:p>
          <a:p>
            <a:pPr algn="ctr"/>
            <a:r>
              <a:rPr lang="en-GB" sz="800" b="1" dirty="0">
                <a:latin typeface="+mn-lt"/>
              </a:rPr>
              <a:t>(Bending-Torsion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516F969-001D-1460-A394-53AB49110063}"/>
              </a:ext>
            </a:extLst>
          </p:cNvPr>
          <p:cNvSpPr txBox="1"/>
          <p:nvPr/>
        </p:nvSpPr>
        <p:spPr>
          <a:xfrm>
            <a:off x="7472725" y="2995915"/>
            <a:ext cx="18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algn="ctr">
              <a:buFont typeface="+mj-lt"/>
              <a:buAutoNum type="alphaLcParenR" startAt="4"/>
            </a:pPr>
            <a:r>
              <a:rPr lang="en-GB" sz="800" b="1" dirty="0">
                <a:latin typeface="+mn-lt"/>
              </a:rPr>
              <a:t>4</a:t>
            </a:r>
            <a:r>
              <a:rPr lang="en-GB" sz="800" b="1" baseline="30000" dirty="0">
                <a:latin typeface="+mn-lt"/>
              </a:rPr>
              <a:t>th</a:t>
            </a:r>
            <a:r>
              <a:rPr lang="en-GB" sz="800" b="1" dirty="0">
                <a:latin typeface="+mn-lt"/>
              </a:rPr>
              <a:t> natural wing mode</a:t>
            </a:r>
          </a:p>
          <a:p>
            <a:pPr algn="ctr"/>
            <a:r>
              <a:rPr lang="en-GB" sz="800" b="1" dirty="0">
                <a:latin typeface="+mn-lt"/>
              </a:rPr>
              <a:t>(Bending-Torsion)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F23FE761-8E2E-8B2D-0088-E8A6B60216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300420"/>
              </p:ext>
            </p:extLst>
          </p:nvPr>
        </p:nvGraphicFramePr>
        <p:xfrm>
          <a:off x="5098673" y="3426950"/>
          <a:ext cx="3914530" cy="188003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242000">
                  <a:extLst>
                    <a:ext uri="{9D8B030D-6E8A-4147-A177-3AD203B41FA5}">
                      <a16:colId xmlns:a16="http://schemas.microsoft.com/office/drawing/2014/main" val="4211798495"/>
                    </a:ext>
                  </a:extLst>
                </a:gridCol>
                <a:gridCol w="835887">
                  <a:extLst>
                    <a:ext uri="{9D8B030D-6E8A-4147-A177-3AD203B41FA5}">
                      <a16:colId xmlns:a16="http://schemas.microsoft.com/office/drawing/2014/main" val="2795406948"/>
                    </a:ext>
                  </a:extLst>
                </a:gridCol>
                <a:gridCol w="970783">
                  <a:extLst>
                    <a:ext uri="{9D8B030D-6E8A-4147-A177-3AD203B41FA5}">
                      <a16:colId xmlns:a16="http://schemas.microsoft.com/office/drawing/2014/main" val="381525343"/>
                    </a:ext>
                  </a:extLst>
                </a:gridCol>
                <a:gridCol w="865860">
                  <a:extLst>
                    <a:ext uri="{9D8B030D-6E8A-4147-A177-3AD203B41FA5}">
                      <a16:colId xmlns:a16="http://schemas.microsoft.com/office/drawing/2014/main" val="1694005454"/>
                    </a:ext>
                  </a:extLst>
                </a:gridCol>
              </a:tblGrid>
              <a:tr h="376403"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</a:pPr>
                      <a:r>
                        <a:rPr lang="en-US" sz="800" b="1" dirty="0"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ode Shape</a:t>
                      </a:r>
                      <a:endParaRPr lang="en-DE" sz="800" b="1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</a:pPr>
                      <a:r>
                        <a:rPr lang="en-US" sz="800" b="1" dirty="0"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Durmuş</a:t>
                      </a:r>
                      <a:endParaRPr lang="en-DE" sz="800" b="1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</a:pPr>
                      <a:r>
                        <a:rPr lang="en-US" sz="800" b="1" dirty="0"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Bennamia and Baderredine</a:t>
                      </a:r>
                      <a:endParaRPr lang="en-DE" sz="800" b="1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</a:pPr>
                      <a:r>
                        <a:rPr lang="en-US" sz="800" b="1" dirty="0"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Savino and Cocco</a:t>
                      </a:r>
                      <a:endParaRPr lang="en-DE" sz="800" b="1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929458488"/>
                  </a:ext>
                </a:extLst>
              </a:tr>
              <a:tr h="375907"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</a:pPr>
                      <a:r>
                        <a:rPr lang="en-GB" sz="800" b="1" dirty="0">
                          <a:effectLst/>
                        </a:rPr>
                        <a:t>1</a:t>
                      </a:r>
                    </a:p>
                    <a:p>
                      <a:pPr algn="ctr">
                        <a:lnSpc>
                          <a:spcPct val="125000"/>
                        </a:lnSpc>
                      </a:pPr>
                      <a:r>
                        <a:rPr lang="en-GB" sz="800" b="0" dirty="0">
                          <a:effectLst/>
                        </a:rPr>
                        <a:t>(Bending Dominant)</a:t>
                      </a:r>
                      <a:endParaRPr lang="en-DE" sz="800" b="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</a:pPr>
                      <a:r>
                        <a:rPr lang="en-GB" sz="800" dirty="0">
                          <a:effectLst/>
                        </a:rPr>
                        <a:t>49.58</a:t>
                      </a:r>
                      <a:endParaRPr lang="en-DE" sz="8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</a:pPr>
                      <a:r>
                        <a:rPr lang="en-GB" sz="800" dirty="0">
                          <a:effectLst/>
                        </a:rPr>
                        <a:t>49.24</a:t>
                      </a:r>
                      <a:endParaRPr lang="en-DE" sz="8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</a:pPr>
                      <a:r>
                        <a:rPr lang="en-GB" sz="800" dirty="0">
                          <a:effectLst/>
                        </a:rPr>
                        <a:t>48.13</a:t>
                      </a:r>
                      <a:endParaRPr lang="en-DE" sz="8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196089943"/>
                  </a:ext>
                </a:extLst>
              </a:tr>
              <a:tr h="375907"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</a:pPr>
                      <a:r>
                        <a:rPr lang="en-GB" sz="800" b="1" dirty="0">
                          <a:effectLst/>
                        </a:rPr>
                        <a:t>2</a:t>
                      </a:r>
                    </a:p>
                    <a:p>
                      <a:pPr algn="ctr">
                        <a:lnSpc>
                          <a:spcPct val="125000"/>
                        </a:lnSpc>
                      </a:pPr>
                      <a:r>
                        <a:rPr lang="en-GB" sz="800" b="0" dirty="0">
                          <a:effectLst/>
                        </a:rPr>
                        <a:t>(Torsional Dominant)</a:t>
                      </a:r>
                      <a:endParaRPr lang="en-DE" sz="800" b="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</a:pPr>
                      <a:r>
                        <a:rPr lang="en-GB" sz="800" dirty="0">
                          <a:effectLst/>
                        </a:rPr>
                        <a:t>97.28</a:t>
                      </a:r>
                      <a:endParaRPr lang="en-DE" sz="8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</a:pPr>
                      <a:r>
                        <a:rPr lang="en-GB" sz="800" dirty="0">
                          <a:effectLst/>
                        </a:rPr>
                        <a:t>99.19</a:t>
                      </a:r>
                      <a:endParaRPr lang="en-DE" sz="8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</a:pPr>
                      <a:r>
                        <a:rPr lang="en-GB" sz="800" dirty="0">
                          <a:effectLst/>
                        </a:rPr>
                        <a:t>95.57</a:t>
                      </a:r>
                      <a:endParaRPr lang="en-DE" sz="8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6347143"/>
                  </a:ext>
                </a:extLst>
              </a:tr>
              <a:tr h="375907"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</a:pPr>
                      <a:r>
                        <a:rPr lang="en-GB" sz="800" b="1" dirty="0">
                          <a:effectLst/>
                        </a:rPr>
                        <a:t>3</a:t>
                      </a:r>
                    </a:p>
                    <a:p>
                      <a:pPr algn="ctr">
                        <a:lnSpc>
                          <a:spcPct val="125000"/>
                        </a:lnSpc>
                      </a:pPr>
                      <a:r>
                        <a:rPr lang="en-GB" sz="800" b="0" dirty="0">
                          <a:effectLst/>
                        </a:rPr>
                        <a:t>(Bending+Torsion)</a:t>
                      </a:r>
                      <a:endParaRPr lang="en-DE" sz="800" b="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</a:pPr>
                      <a:r>
                        <a:rPr lang="en-GB" sz="800" dirty="0">
                          <a:effectLst/>
                        </a:rPr>
                        <a:t>248.58</a:t>
                      </a:r>
                      <a:endParaRPr lang="en-DE" sz="8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</a:pPr>
                      <a:r>
                        <a:rPr lang="en-GB" sz="800" dirty="0">
                          <a:effectLst/>
                        </a:rPr>
                        <a:t>246.53</a:t>
                      </a:r>
                      <a:endParaRPr lang="en-DE" sz="8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</a:pPr>
                      <a:r>
                        <a:rPr lang="en-GB" sz="800" dirty="0">
                          <a:effectLst/>
                        </a:rPr>
                        <a:t>242.15</a:t>
                      </a:r>
                      <a:endParaRPr lang="en-DE" sz="8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63191500"/>
                  </a:ext>
                </a:extLst>
              </a:tr>
              <a:tr h="375907"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</a:pPr>
                      <a:r>
                        <a:rPr lang="en-GB" sz="800" b="1" dirty="0">
                          <a:effectLst/>
                        </a:rPr>
                        <a:t>4</a:t>
                      </a:r>
                    </a:p>
                    <a:p>
                      <a:pPr algn="ctr">
                        <a:lnSpc>
                          <a:spcPct val="125000"/>
                        </a:lnSpc>
                      </a:pPr>
                      <a:r>
                        <a:rPr lang="en-GB" sz="800" b="0" dirty="0">
                          <a:effectLst/>
                        </a:rPr>
                        <a:t>(Bending+Torsion)</a:t>
                      </a:r>
                      <a:endParaRPr lang="en-DE" sz="800" b="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</a:pPr>
                      <a:r>
                        <a:rPr lang="en-GB" sz="800" dirty="0">
                          <a:effectLst/>
                        </a:rPr>
                        <a:t>356.32</a:t>
                      </a:r>
                      <a:endParaRPr lang="en-DE" sz="8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</a:pPr>
                      <a:r>
                        <a:rPr lang="en-GB" sz="800" dirty="0">
                          <a:effectLst/>
                        </a:rPr>
                        <a:t>-</a:t>
                      </a:r>
                      <a:endParaRPr lang="en-DE" sz="8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</a:pPr>
                      <a:r>
                        <a:rPr lang="en-GB" sz="800" dirty="0">
                          <a:effectLst/>
                        </a:rPr>
                        <a:t>344.26</a:t>
                      </a:r>
                      <a:endParaRPr lang="en-DE" sz="8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423587399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889811FA-74EA-3C3B-A54C-7E587C2BFE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5093788"/>
              </p:ext>
            </p:extLst>
          </p:nvPr>
        </p:nvGraphicFramePr>
        <p:xfrm>
          <a:off x="9013203" y="3426950"/>
          <a:ext cx="812050" cy="188003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12050">
                  <a:extLst>
                    <a:ext uri="{9D8B030D-6E8A-4147-A177-3AD203B41FA5}">
                      <a16:colId xmlns:a16="http://schemas.microsoft.com/office/drawing/2014/main" val="391321709"/>
                    </a:ext>
                  </a:extLst>
                </a:gridCol>
              </a:tblGrid>
              <a:tr h="376403"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</a:pPr>
                      <a:r>
                        <a:rPr lang="en-US" sz="8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Current Model</a:t>
                      </a:r>
                      <a:endParaRPr lang="en-DE" sz="8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37171007"/>
                  </a:ext>
                </a:extLst>
              </a:tr>
              <a:tr h="375907"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</a:pPr>
                      <a:r>
                        <a:rPr lang="en-US" sz="8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48.07</a:t>
                      </a:r>
                      <a:endParaRPr lang="en-DE" sz="8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CBE4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6567507"/>
                  </a:ext>
                </a:extLst>
              </a:tr>
              <a:tr h="375907"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</a:pPr>
                      <a:r>
                        <a:rPr lang="en-US" sz="8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95.56</a:t>
                      </a:r>
                      <a:endParaRPr lang="en-DE" sz="8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E7F2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8767946"/>
                  </a:ext>
                </a:extLst>
              </a:tr>
              <a:tr h="375907"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</a:pPr>
                      <a:r>
                        <a:rPr lang="en-US" sz="8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42.69</a:t>
                      </a:r>
                      <a:endParaRPr lang="en-DE" sz="8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CBE4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231424"/>
                  </a:ext>
                </a:extLst>
              </a:tr>
              <a:tr h="375907"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</a:pPr>
                      <a:r>
                        <a:rPr lang="en-US" sz="8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44.91</a:t>
                      </a:r>
                      <a:endParaRPr lang="en-DE" sz="8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E7F2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4341739"/>
                  </a:ext>
                </a:extLst>
              </a:tr>
            </a:tbl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A10AB3B7-E9E3-06BA-15B2-2E0FDD755CA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1502" y="2664491"/>
            <a:ext cx="4064442" cy="2437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54058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11" grpId="0"/>
      <p:bldP spid="12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38ED40-9917-A294-BEA6-82CFEB6E35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lidation Studies</a:t>
            </a:r>
            <a:endParaRPr lang="en-D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94EA77-4737-FD1E-A05D-4B2E2F5578A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Propeller-Wing (Stationary) Interaction – Rotation Direction</a:t>
            </a:r>
            <a:endParaRPr lang="en-DE" dirty="0"/>
          </a:p>
        </p:txBody>
      </p:sp>
      <mc:AlternateContent xmlns:mc="http://schemas.openxmlformats.org/markup-compatibility/2006">
        <mc:Choice xmlns:a14="http://schemas.microsoft.com/office/drawing/2010/main" Requires="a14">
          <p:graphicFrame>
            <p:nvGraphicFramePr>
              <p:cNvPr id="8" name="Table 7">
                <a:extLst>
                  <a:ext uri="{FF2B5EF4-FFF2-40B4-BE49-F238E27FC236}">
                    <a16:creationId xmlns:a16="http://schemas.microsoft.com/office/drawing/2014/main" id="{A22561A6-91B7-5613-CC1B-8BF3BD6C64F1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971281506"/>
                  </p:ext>
                </p:extLst>
              </p:nvPr>
            </p:nvGraphicFramePr>
            <p:xfrm>
              <a:off x="471026" y="1297997"/>
              <a:ext cx="4323170" cy="913261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956770">
                      <a:extLst>
                        <a:ext uri="{9D8B030D-6E8A-4147-A177-3AD203B41FA5}">
                          <a16:colId xmlns:a16="http://schemas.microsoft.com/office/drawing/2014/main" val="4238621393"/>
                        </a:ext>
                      </a:extLst>
                    </a:gridCol>
                    <a:gridCol w="1366400">
                      <a:extLst>
                        <a:ext uri="{9D8B030D-6E8A-4147-A177-3AD203B41FA5}">
                          <a16:colId xmlns:a16="http://schemas.microsoft.com/office/drawing/2014/main" val="2029339879"/>
                        </a:ext>
                      </a:extLst>
                    </a:gridCol>
                  </a:tblGrid>
                  <a:tr h="225594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b="1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Parameter (Varying)</a:t>
                          </a:r>
                          <a:endParaRPr lang="en-DE" sz="1200" b="1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b="1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Range</a:t>
                          </a:r>
                          <a:endParaRPr lang="en-DE" sz="1200" b="1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018589997"/>
                      </a:ext>
                    </a:extLst>
                  </a:tr>
                  <a:tr h="236479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Wing angle of attack </a:t>
                          </a:r>
                          <a14:m>
                            <m:oMath xmlns:m="http://schemas.openxmlformats.org/officeDocument/2006/math">
                              <m:d>
                                <m:dPr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DE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  <m:t>𝛼</m:t>
                                      </m:r>
                                    </m:e>
                                    <m:sub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  <m:t>𝑊</m:t>
                                      </m:r>
                                    </m:sub>
                                  </m:sSub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  <m:t>, </m:t>
                                  </m:r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  <m:t>𝑑𝑒𝑔</m:t>
                                  </m:r>
                                </m:e>
                              </m:d>
                            </m:oMath>
                          </a14:m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1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866479078"/>
                      </a:ext>
                    </a:extLst>
                  </a:tr>
                  <a:tr h="225594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Advance ratio </a:t>
                          </a:r>
                          <a14:m>
                            <m:oMath xmlns:m="http://schemas.openxmlformats.org/officeDocument/2006/math">
                              <m:d>
                                <m:dPr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  <m:t>𝐽</m:t>
                                  </m:r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, −</m:t>
                                  </m:r>
                                </m:e>
                              </m:d>
                            </m:oMath>
                          </a14:m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9 (LT), 0.7 (HT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369563425"/>
                      </a:ext>
                    </a:extLst>
                  </a:tr>
                  <a:tr h="225594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i="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Propeller</a:t>
                          </a:r>
                          <a:r>
                            <a:rPr lang="en-GB" sz="1200" i="0" baseline="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 Thrust Coefficient </a:t>
                          </a:r>
                          <a14:m>
                            <m:oMath xmlns:m="http://schemas.openxmlformats.org/officeDocument/2006/math">
                              <m:d>
                                <m:dPr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DE" sz="1200" i="1" smtClean="0">
                                          <a:effectLst/>
                                          <a:latin typeface="Cambria Math" panose="02040503050406030204" pitchFamily="18" charset="0"/>
                                          <a:cs typeface="Times New Roman" panose="020206030504050203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1200" b="0" i="1" smtClean="0">
                                          <a:effectLst/>
                                          <a:latin typeface="Cambria Math" panose="02040503050406030204" pitchFamily="18" charset="0"/>
                                          <a:cs typeface="Times New Roman" panose="02020603050405020304" pitchFamily="18" charset="0"/>
                                        </a:rPr>
                                        <m:t>𝐶</m:t>
                                      </m:r>
                                    </m:e>
                                    <m:sub>
                                      <m:r>
                                        <a:rPr lang="en-US" sz="1200" b="0" i="1" smtClean="0">
                                          <a:effectLst/>
                                          <a:latin typeface="Cambria Math" panose="02040503050406030204" pitchFamily="18" charset="0"/>
                                          <a:cs typeface="Times New Roman" panose="02020603050405020304" pitchFamily="18" charset="0"/>
                                        </a:rPr>
                                        <m:t>𝑇</m:t>
                                      </m:r>
                                    </m:sub>
                                  </m:sSub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  <m:t>, −</m:t>
                                  </m:r>
                                </m:e>
                              </m:d>
                            </m:oMath>
                          </a14:m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133, 0.235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650803359"/>
                      </a:ext>
                    </a:extLst>
                  </a:tr>
                </a:tbl>
              </a:graphicData>
            </a:graphic>
          </p:graphicFrame>
        </mc:Choice>
        <mc:Fallback>
          <p:graphicFrame>
            <p:nvGraphicFramePr>
              <p:cNvPr id="8" name="Table 7">
                <a:extLst>
                  <a:ext uri="{FF2B5EF4-FFF2-40B4-BE49-F238E27FC236}">
                    <a16:creationId xmlns:a16="http://schemas.microsoft.com/office/drawing/2014/main" id="{A22561A6-91B7-5613-CC1B-8BF3BD6C64F1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971281506"/>
                  </p:ext>
                </p:extLst>
              </p:nvPr>
            </p:nvGraphicFramePr>
            <p:xfrm>
              <a:off x="471026" y="1297997"/>
              <a:ext cx="4323170" cy="913261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956770">
                      <a:extLst>
                        <a:ext uri="{9D8B030D-6E8A-4147-A177-3AD203B41FA5}">
                          <a16:colId xmlns:a16="http://schemas.microsoft.com/office/drawing/2014/main" val="4238621393"/>
                        </a:ext>
                      </a:extLst>
                    </a:gridCol>
                    <a:gridCol w="1366400">
                      <a:extLst>
                        <a:ext uri="{9D8B030D-6E8A-4147-A177-3AD203B41FA5}">
                          <a16:colId xmlns:a16="http://schemas.microsoft.com/office/drawing/2014/main" val="2029339879"/>
                        </a:ext>
                      </a:extLst>
                    </a:gridCol>
                  </a:tblGrid>
                  <a:tr h="225594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b="1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Parameter (Varying)</a:t>
                          </a:r>
                          <a:endParaRPr lang="en-DE" sz="1200" b="1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b="1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Range</a:t>
                          </a:r>
                          <a:endParaRPr lang="en-DE" sz="1200" b="1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018589997"/>
                      </a:ext>
                    </a:extLst>
                  </a:tr>
                  <a:tr h="236479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2"/>
                          <a:stretch>
                            <a:fillRect l="-206" t="-105128" r="-46914" b="-220513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1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866479078"/>
                      </a:ext>
                    </a:extLst>
                  </a:tr>
                  <a:tr h="225594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2"/>
                          <a:stretch>
                            <a:fillRect l="-206" t="-210526" r="-46914" b="-12631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9 (LT), 0.7 (HT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369563425"/>
                      </a:ext>
                    </a:extLst>
                  </a:tr>
                  <a:tr h="225594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2"/>
                          <a:stretch>
                            <a:fillRect l="-206" t="-318919" r="-46914" b="-2973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133, 0.235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650803359"/>
                      </a:ext>
                    </a:extLst>
                  </a:tr>
                </a:tbl>
              </a:graphicData>
            </a:graphic>
          </p:graphicFrame>
        </mc:Fallback>
      </mc:AlternateContent>
      <p:pic>
        <p:nvPicPr>
          <p:cNvPr id="3" name="Picture 2">
            <a:extLst>
              <a:ext uri="{FF2B5EF4-FFF2-40B4-BE49-F238E27FC236}">
                <a16:creationId xmlns:a16="http://schemas.microsoft.com/office/drawing/2014/main" id="{D65861F7-BB25-BE5E-066F-5C75B78F78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9238" y="2694246"/>
            <a:ext cx="4606746" cy="2153029"/>
          </a:xfrm>
          <a:prstGeom prst="rect">
            <a:avLst/>
          </a:prstGeom>
        </p:spPr>
      </p:pic>
      <p:pic>
        <p:nvPicPr>
          <p:cNvPr id="5" name="Picture 4" descr="A blue and orange flower&#10;&#10;Description automatically generated">
            <a:extLst>
              <a:ext uri="{FF2B5EF4-FFF2-40B4-BE49-F238E27FC236}">
                <a16:creationId xmlns:a16="http://schemas.microsoft.com/office/drawing/2014/main" id="{F6C92EF7-1EF2-A4AE-83EA-3BBB2B34FC7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3050" r="1505"/>
          <a:stretch/>
        </p:blipFill>
        <p:spPr bwMode="auto">
          <a:xfrm>
            <a:off x="5047862" y="1594407"/>
            <a:ext cx="4529337" cy="158417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6" name="Picture 5" descr="A blurry image of a blue circle&#10;&#10;Description automatically generated">
            <a:extLst>
              <a:ext uri="{FF2B5EF4-FFF2-40B4-BE49-F238E27FC236}">
                <a16:creationId xmlns:a16="http://schemas.microsoft.com/office/drawing/2014/main" id="{5C877167-BA23-A591-D2AA-8EE2040D669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64472" y="3460370"/>
            <a:ext cx="4529337" cy="1556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89782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38ED40-9917-A294-BEA6-82CFEB6E35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lidation Studies</a:t>
            </a:r>
            <a:endParaRPr lang="en-D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94EA77-4737-FD1E-A05D-4B2E2F5578A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Propeller-Wing (Stationary) Interaction – Rotation Direction</a:t>
            </a:r>
            <a:endParaRPr lang="en-DE" dirty="0"/>
          </a:p>
        </p:txBody>
      </p:sp>
      <mc:AlternateContent xmlns:mc="http://schemas.openxmlformats.org/markup-compatibility/2006">
        <mc:Choice xmlns:a14="http://schemas.microsoft.com/office/drawing/2010/main" Requires="a14">
          <p:graphicFrame>
            <p:nvGraphicFramePr>
              <p:cNvPr id="8" name="Table 7">
                <a:extLst>
                  <a:ext uri="{FF2B5EF4-FFF2-40B4-BE49-F238E27FC236}">
                    <a16:creationId xmlns:a16="http://schemas.microsoft.com/office/drawing/2014/main" id="{A22561A6-91B7-5613-CC1B-8BF3BD6C64F1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792111893"/>
                  </p:ext>
                </p:extLst>
              </p:nvPr>
            </p:nvGraphicFramePr>
            <p:xfrm>
              <a:off x="612814" y="1344825"/>
              <a:ext cx="4186438" cy="1364449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956770">
                      <a:extLst>
                        <a:ext uri="{9D8B030D-6E8A-4147-A177-3AD203B41FA5}">
                          <a16:colId xmlns:a16="http://schemas.microsoft.com/office/drawing/2014/main" val="4238621393"/>
                        </a:ext>
                      </a:extLst>
                    </a:gridCol>
                    <a:gridCol w="1229668">
                      <a:extLst>
                        <a:ext uri="{9D8B030D-6E8A-4147-A177-3AD203B41FA5}">
                          <a16:colId xmlns:a16="http://schemas.microsoft.com/office/drawing/2014/main" val="2029339879"/>
                        </a:ext>
                      </a:extLst>
                    </a:gridCol>
                  </a:tblGrid>
                  <a:tr h="225594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b="1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Parameter (Varying)</a:t>
                          </a:r>
                          <a:endParaRPr lang="en-DE" sz="1200" b="1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b="1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Range</a:t>
                          </a:r>
                          <a:endParaRPr lang="en-DE" sz="1200" b="1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018589997"/>
                      </a:ext>
                    </a:extLst>
                  </a:tr>
                  <a:tr h="236479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Wing angle of attack </a:t>
                          </a:r>
                          <a14:m>
                            <m:oMath xmlns:m="http://schemas.openxmlformats.org/officeDocument/2006/math">
                              <m:d>
                                <m:dPr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DE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  <m:t>𝛼</m:t>
                                      </m:r>
                                    </m:e>
                                    <m:sub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  <m:t>𝑊</m:t>
                                      </m:r>
                                    </m:sub>
                                  </m:sSub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  <m:t>, </m:t>
                                  </m:r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  <m:t>𝑑𝑒𝑔</m:t>
                                  </m:r>
                                </m:e>
                              </m:d>
                            </m:oMath>
                          </a14:m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, 2, 4, 6, 8, 10</a:t>
                          </a:r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866479078"/>
                      </a:ext>
                    </a:extLst>
                  </a:tr>
                  <a:tr h="225594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Rotation direction</a:t>
                          </a:r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IU, OU</a:t>
                          </a:r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209481457"/>
                      </a:ext>
                    </a:extLst>
                  </a:tr>
                  <a:tr h="225594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Advance ratio </a:t>
                          </a:r>
                          <a14:m>
                            <m:oMath xmlns:m="http://schemas.openxmlformats.org/officeDocument/2006/math">
                              <m:d>
                                <m:dPr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  <m:t>𝐽</m:t>
                                  </m:r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, −</m:t>
                                  </m:r>
                                </m:e>
                              </m:d>
                            </m:oMath>
                          </a14:m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85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369563425"/>
                      </a:ext>
                    </a:extLst>
                  </a:tr>
                  <a:tr h="225594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Normalised Y-position </a:t>
                          </a:r>
                          <a14:m>
                            <m:oMath xmlns:m="http://schemas.openxmlformats.org/officeDocument/2006/math">
                              <m:d>
                                <m:dPr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</m:ctrlPr>
                                </m:dPr>
                                <m:e>
                                  <m:f>
                                    <m:fPr>
                                      <m:type m:val="lin"/>
                                      <m:ctrlPr>
                                        <a:rPr lang="en-DE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Times New Roman" panose="02020603050405020304" pitchFamily="18" charset="0"/>
                                        </a:rPr>
                                      </m:ctrlPr>
                                    </m:fPr>
                                    <m:num>
                                      <m:f>
                                        <m:fPr>
                                          <m:type m:val="lin"/>
                                          <m:ctrlPr>
                                            <a:rPr lang="en-DE" sz="1200" i="1">
                                              <a:effectLst/>
                                              <a:latin typeface="Cambria Math" panose="02040503050406030204" pitchFamily="18" charset="0"/>
                                              <a:ea typeface="Arial" panose="020B0604020202020204" pitchFamily="34" charset="0"/>
                                              <a:cs typeface="Times New Roman" panose="02020603050405020304" pitchFamily="18" charset="0"/>
                                            </a:rPr>
                                          </m:ctrlPr>
                                        </m:fPr>
                                        <m:num>
                                          <m:sSub>
                                            <m:sSubPr>
                                              <m:ctrlPr>
                                                <a:rPr lang="en-DE" sz="1200" i="1">
                                                  <a:effectLst/>
                                                  <a:latin typeface="Cambria Math" panose="02040503050406030204" pitchFamily="18" charset="0"/>
                                                  <a:ea typeface="Arial" panose="020B0604020202020204" pitchFamily="34" charset="0"/>
                                                  <a:cs typeface="Times New Roman" panose="020206030504050203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GB" sz="1200" i="1">
                                                  <a:effectLst/>
                                                  <a:latin typeface="Cambria Math" panose="02040503050406030204" pitchFamily="18" charset="0"/>
                                                  <a:ea typeface="Arial" panose="020B0604020202020204" pitchFamily="34" charset="0"/>
                                                  <a:cs typeface="Times New Roman" panose="02020603050405020304" pitchFamily="18" charset="0"/>
                                                </a:rPr>
                                                <m:t>𝑦</m:t>
                                              </m:r>
                                            </m:e>
                                            <m:sub>
                                              <m:r>
                                                <a:rPr lang="en-GB" sz="1200" i="1">
                                                  <a:effectLst/>
                                                  <a:latin typeface="Cambria Math" panose="02040503050406030204" pitchFamily="18" charset="0"/>
                                                  <a:ea typeface="Arial" panose="020B0604020202020204" pitchFamily="34" charset="0"/>
                                                  <a:cs typeface="Times New Roman" panose="02020603050405020304" pitchFamily="18" charset="0"/>
                                                </a:rPr>
                                                <m:t>𝑃</m:t>
                                              </m:r>
                                            </m:sub>
                                          </m:sSub>
                                        </m:num>
                                        <m:den>
                                          <m:sSub>
                                            <m:sSubPr>
                                              <m:ctrlPr>
                                                <a:rPr lang="en-DE" sz="1200" i="1">
                                                  <a:effectLst/>
                                                  <a:latin typeface="Cambria Math" panose="02040503050406030204" pitchFamily="18" charset="0"/>
                                                  <a:ea typeface="Arial" panose="020B0604020202020204" pitchFamily="34" charset="0"/>
                                                  <a:cs typeface="Times New Roman" panose="020206030504050203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GB" sz="1200" i="1">
                                                  <a:effectLst/>
                                                  <a:latin typeface="Cambria Math" panose="02040503050406030204" pitchFamily="18" charset="0"/>
                                                  <a:ea typeface="Arial" panose="020B0604020202020204" pitchFamily="34" charset="0"/>
                                                  <a:cs typeface="Times New Roman" panose="02020603050405020304" pitchFamily="18" charset="0"/>
                                                </a:rPr>
                                                <m:t>𝑏</m:t>
                                              </m:r>
                                            </m:e>
                                            <m:sub>
                                              <m:r>
                                                <a:rPr lang="en-GB" sz="1200" i="1">
                                                  <a:effectLst/>
                                                  <a:latin typeface="Cambria Math" panose="02040503050406030204" pitchFamily="18" charset="0"/>
                                                  <a:ea typeface="Arial" panose="020B0604020202020204" pitchFamily="34" charset="0"/>
                                                  <a:cs typeface="Times New Roman" panose="02020603050405020304" pitchFamily="18" charset="0"/>
                                                </a:rPr>
                                                <m:t>𝑊</m:t>
                                              </m:r>
                                            </m:sub>
                                          </m:sSub>
                                        </m:den>
                                      </m:f>
                                    </m:num>
                                    <m:den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Times New Roman" panose="02020603050405020304" pitchFamily="18" charset="0"/>
                                        </a:rPr>
                                        <m:t>2</m:t>
                                      </m:r>
                                    </m:den>
                                  </m:f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  <m:t>, −</m:t>
                                  </m:r>
                                </m:e>
                              </m:d>
                            </m:oMath>
                          </a14:m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469</a:t>
                          </a:r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650803359"/>
                      </a:ext>
                    </a:extLst>
                  </a:tr>
                  <a:tr h="225594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Propeller relative inclination </a:t>
                          </a:r>
                          <a14:m>
                            <m:oMath xmlns:m="http://schemas.openxmlformats.org/officeDocument/2006/math">
                              <m:d>
                                <m:dPr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DE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  <m:t>𝛼</m:t>
                                      </m:r>
                                    </m:e>
                                    <m:sub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  <m:t>𝑃</m:t>
                                      </m:r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  <m:t>→</m:t>
                                      </m:r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  <m:t>𝑊</m:t>
                                      </m:r>
                                    </m:sub>
                                  </m:sSub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  <m:t>, </m:t>
                                  </m:r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  <m:t>𝑑𝑒𝑔</m:t>
                                  </m:r>
                                </m:e>
                              </m:d>
                            </m:oMath>
                          </a14:m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0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529236367"/>
                      </a:ext>
                    </a:extLst>
                  </a:tr>
                </a:tbl>
              </a:graphicData>
            </a:graphic>
          </p:graphicFrame>
        </mc:Choice>
        <mc:Fallback>
          <p:graphicFrame>
            <p:nvGraphicFramePr>
              <p:cNvPr id="8" name="Table 7">
                <a:extLst>
                  <a:ext uri="{FF2B5EF4-FFF2-40B4-BE49-F238E27FC236}">
                    <a16:creationId xmlns:a16="http://schemas.microsoft.com/office/drawing/2014/main" id="{A22561A6-91B7-5613-CC1B-8BF3BD6C64F1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792111893"/>
                  </p:ext>
                </p:extLst>
              </p:nvPr>
            </p:nvGraphicFramePr>
            <p:xfrm>
              <a:off x="612814" y="1344825"/>
              <a:ext cx="4186438" cy="1364449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956770">
                      <a:extLst>
                        <a:ext uri="{9D8B030D-6E8A-4147-A177-3AD203B41FA5}">
                          <a16:colId xmlns:a16="http://schemas.microsoft.com/office/drawing/2014/main" val="4238621393"/>
                        </a:ext>
                      </a:extLst>
                    </a:gridCol>
                    <a:gridCol w="1229668">
                      <a:extLst>
                        <a:ext uri="{9D8B030D-6E8A-4147-A177-3AD203B41FA5}">
                          <a16:colId xmlns:a16="http://schemas.microsoft.com/office/drawing/2014/main" val="2029339879"/>
                        </a:ext>
                      </a:extLst>
                    </a:gridCol>
                  </a:tblGrid>
                  <a:tr h="225594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b="1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Parameter (Varying)</a:t>
                          </a:r>
                          <a:endParaRPr lang="en-DE" sz="1200" b="1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b="1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Range</a:t>
                          </a:r>
                          <a:endParaRPr lang="en-DE" sz="1200" b="1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018589997"/>
                      </a:ext>
                    </a:extLst>
                  </a:tr>
                  <a:tr h="236479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2"/>
                          <a:stretch>
                            <a:fillRect l="-206" t="-105128" r="-42387" b="-47179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, 2, 4, 6, 8, 10</a:t>
                          </a:r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866479078"/>
                      </a:ext>
                    </a:extLst>
                  </a:tr>
                  <a:tr h="225594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Rotation direction</a:t>
                          </a:r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IU, OU</a:t>
                          </a:r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209481457"/>
                      </a:ext>
                    </a:extLst>
                  </a:tr>
                  <a:tr h="225594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2"/>
                          <a:stretch>
                            <a:fillRect l="-206" t="-307895" r="-42387" b="-28684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85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369563425"/>
                      </a:ext>
                    </a:extLst>
                  </a:tr>
                  <a:tr h="225594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2"/>
                          <a:stretch>
                            <a:fillRect l="-206" t="-418919" r="-42387" b="-19459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469</a:t>
                          </a:r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650803359"/>
                      </a:ext>
                    </a:extLst>
                  </a:tr>
                  <a:tr h="225594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2"/>
                          <a:stretch>
                            <a:fillRect l="-206" t="-518919" r="-42387" b="-9459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0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529236367"/>
                      </a:ext>
                    </a:extLst>
                  </a:tr>
                </a:tbl>
              </a:graphicData>
            </a:graphic>
          </p:graphicFrame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6" name="Content Placeholder 2">
                <a:extLst>
                  <a:ext uri="{FF2B5EF4-FFF2-40B4-BE49-F238E27FC236}">
                    <a16:creationId xmlns:a16="http://schemas.microsoft.com/office/drawing/2014/main" id="{2D8B4533-EFCF-B987-1E09-BE27CF4D839D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317501" y="3229743"/>
                <a:ext cx="4906516" cy="19691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>
                <a:lvl1pPr marL="0" indent="0" algn="l" rtl="0" eaLnBrk="0" fontAlgn="base" hangingPunct="0">
                  <a:spcBef>
                    <a:spcPts val="0"/>
                  </a:spcBef>
                  <a:spcAft>
                    <a:spcPts val="0"/>
                  </a:spcAft>
                  <a:buFontTx/>
                  <a:buNone/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1pPr>
                <a:lvl2pPr marL="0" indent="0" algn="l" rtl="0" eaLnBrk="0" fontAlgn="base" hangingPunct="0">
                  <a:spcBef>
                    <a:spcPts val="2000"/>
                  </a:spcBef>
                  <a:spcAft>
                    <a:spcPct val="0"/>
                  </a:spcAft>
                  <a:buNone/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2pPr>
                <a:lvl3pPr marL="723900" indent="-3683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Verdana" pitchFamily="34" charset="0"/>
                  <a:buChar char="&gt;"/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3pPr>
                <a:lvl4pPr marL="0" indent="0" algn="l" rtl="0" eaLnBrk="0" fontAlgn="base" hangingPunct="0">
                  <a:spcBef>
                    <a:spcPts val="1600"/>
                  </a:spcBef>
                  <a:spcAft>
                    <a:spcPct val="0"/>
                  </a:spcAft>
                  <a:buFontTx/>
                  <a:buNone/>
                  <a:defRPr sz="11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4pPr>
                <a:lvl5pPr marL="723900" indent="-3683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Verdana" pitchFamily="34" charset="0"/>
                  <a:buChar char="&gt;"/>
                  <a:defRPr sz="11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r>
                  <a:rPr lang="en-US" sz="1200" dirty="0"/>
                  <a:t>In both IU and OU rotation cases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2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200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en-US" sz="1200" b="0" i="1" smtClean="0">
                            <a:latin typeface="Cambria Math" panose="02040503050406030204" pitchFamily="18" charset="0"/>
                          </a:rPr>
                          <m:t>𝐿</m:t>
                        </m:r>
                      </m:sub>
                    </m:sSub>
                  </m:oMath>
                </a14:m>
                <a:r>
                  <a:rPr lang="en-US" sz="1200" dirty="0"/>
                  <a:t> increases compared to the standalone wing case.</a:t>
                </a:r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r>
                  <a:rPr lang="en-US" sz="1200" dirty="0"/>
                  <a:t>Slope o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2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200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en-US" sz="1200" b="0" i="1" smtClean="0">
                            <a:latin typeface="Cambria Math" panose="02040503050406030204" pitchFamily="18" charset="0"/>
                          </a:rPr>
                          <m:t>𝐿</m:t>
                        </m:r>
                      </m:sub>
                    </m:sSub>
                  </m:oMath>
                </a14:m>
                <a:r>
                  <a:rPr lang="en-US" sz="1200" dirty="0"/>
                  <a:t> v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2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2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en-US" sz="12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𝑊</m:t>
                        </m:r>
                      </m:sub>
                    </m:sSub>
                  </m:oMath>
                </a14:m>
                <a:r>
                  <a:rPr lang="en-US" sz="1200" dirty="0"/>
                  <a:t> curve for IU was larger than that of OU case.</a:t>
                </a:r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r>
                  <a:rPr lang="en-US" sz="1200" dirty="0"/>
                  <a:t>Spanwis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2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200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en-US" sz="1200" b="0" i="1" smtClean="0">
                            <a:latin typeface="Cambria Math" panose="02040503050406030204" pitchFamily="18" charset="0"/>
                          </a:rPr>
                          <m:t>𝐿</m:t>
                        </m:r>
                      </m:sub>
                    </m:sSub>
                  </m:oMath>
                </a14:m>
                <a:r>
                  <a:rPr lang="en-US" sz="1200" dirty="0"/>
                  <a:t> distribution from Veldhuis’ thesis matched FMI simulation results very closely.</a:t>
                </a:r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endParaRPr lang="en-DE" sz="1500" dirty="0"/>
              </a:p>
            </p:txBody>
          </p:sp>
        </mc:Choice>
        <mc:Fallback>
          <p:sp>
            <p:nvSpPr>
              <p:cNvPr id="16" name="Content Placeholder 2">
                <a:extLst>
                  <a:ext uri="{FF2B5EF4-FFF2-40B4-BE49-F238E27FC236}">
                    <a16:creationId xmlns:a16="http://schemas.microsoft.com/office/drawing/2014/main" id="{2D8B4533-EFCF-B987-1E09-BE27CF4D839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17501" y="3229743"/>
                <a:ext cx="4906516" cy="1969121"/>
              </a:xfrm>
              <a:prstGeom prst="rect">
                <a:avLst/>
              </a:prstGeom>
              <a:blipFill>
                <a:blip r:embed="rId3"/>
                <a:stretch>
                  <a:fillRect l="-1739" t="-1548" r="-2360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0" name="Picture 9">
            <a:extLst>
              <a:ext uri="{FF2B5EF4-FFF2-40B4-BE49-F238E27FC236}">
                <a16:creationId xmlns:a16="http://schemas.microsoft.com/office/drawing/2014/main" id="{8A7FBDDB-E465-AC99-58AB-C7309AB448A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05353" y="1057300"/>
            <a:ext cx="3858525" cy="205518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387BC58-DE36-5A46-63AE-0134454737C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2078"/>
          <a:stretch/>
        </p:blipFill>
        <p:spPr bwMode="auto">
          <a:xfrm>
            <a:off x="5244902" y="3410503"/>
            <a:ext cx="4392488" cy="16076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47971135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38ED40-9917-A294-BEA6-82CFEB6E35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lidation Studies</a:t>
            </a:r>
            <a:endParaRPr lang="en-D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94EA77-4737-FD1E-A05D-4B2E2F5578A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Propeller-Wing (Stationary) Interaction – Advance Ratio</a:t>
            </a:r>
            <a:endParaRPr lang="en-DE" dirty="0"/>
          </a:p>
        </p:txBody>
      </p:sp>
      <mc:AlternateContent xmlns:mc="http://schemas.openxmlformats.org/markup-compatibility/2006">
        <mc:Choice xmlns:a14="http://schemas.microsoft.com/office/drawing/2010/main" Requires="a14">
          <p:graphicFrame>
            <p:nvGraphicFramePr>
              <p:cNvPr id="8" name="Table 7">
                <a:extLst>
                  <a:ext uri="{FF2B5EF4-FFF2-40B4-BE49-F238E27FC236}">
                    <a16:creationId xmlns:a16="http://schemas.microsoft.com/office/drawing/2014/main" id="{A22561A6-91B7-5613-CC1B-8BF3BD6C64F1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4201420022"/>
                  </p:ext>
                </p:extLst>
              </p:nvPr>
            </p:nvGraphicFramePr>
            <p:xfrm>
              <a:off x="612814" y="1344825"/>
              <a:ext cx="4186438" cy="1364449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956770">
                      <a:extLst>
                        <a:ext uri="{9D8B030D-6E8A-4147-A177-3AD203B41FA5}">
                          <a16:colId xmlns:a16="http://schemas.microsoft.com/office/drawing/2014/main" val="4238621393"/>
                        </a:ext>
                      </a:extLst>
                    </a:gridCol>
                    <a:gridCol w="1229668">
                      <a:extLst>
                        <a:ext uri="{9D8B030D-6E8A-4147-A177-3AD203B41FA5}">
                          <a16:colId xmlns:a16="http://schemas.microsoft.com/office/drawing/2014/main" val="2029339879"/>
                        </a:ext>
                      </a:extLst>
                    </a:gridCol>
                  </a:tblGrid>
                  <a:tr h="225594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b="1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Parameter (Varying)</a:t>
                          </a:r>
                          <a:endParaRPr lang="en-DE" sz="1200" b="1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b="1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Range</a:t>
                          </a:r>
                          <a:endParaRPr lang="en-DE" sz="1200" b="1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018589997"/>
                      </a:ext>
                    </a:extLst>
                  </a:tr>
                  <a:tr h="236479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Wing angle of attack </a:t>
                          </a:r>
                          <a14:m>
                            <m:oMath xmlns:m="http://schemas.openxmlformats.org/officeDocument/2006/math">
                              <m:d>
                                <m:dPr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DE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  <m:t>𝛼</m:t>
                                      </m:r>
                                    </m:e>
                                    <m:sub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  <m:t>𝑊</m:t>
                                      </m:r>
                                    </m:sub>
                                  </m:sSub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  <m:t>, </m:t>
                                  </m:r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  <m:t>𝑑𝑒𝑔</m:t>
                                  </m:r>
                                </m:e>
                              </m:d>
                            </m:oMath>
                          </a14:m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, 2, 4, 6, 8, 10</a:t>
                          </a:r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866479078"/>
                      </a:ext>
                    </a:extLst>
                  </a:tr>
                  <a:tr h="225594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Rotation direction</a:t>
                          </a:r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IU</a:t>
                          </a:r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209481457"/>
                      </a:ext>
                    </a:extLst>
                  </a:tr>
                  <a:tr h="225594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Advance ratio </a:t>
                          </a:r>
                          <a14:m>
                            <m:oMath xmlns:m="http://schemas.openxmlformats.org/officeDocument/2006/math">
                              <m:d>
                                <m:dPr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  <m:t>𝐽</m:t>
                                  </m:r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, −</m:t>
                                  </m:r>
                                </m:e>
                              </m:d>
                            </m:oMath>
                          </a14:m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81, 0.95,1.11</a:t>
                          </a:r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369563425"/>
                      </a:ext>
                    </a:extLst>
                  </a:tr>
                  <a:tr h="225594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Normalised Y-position </a:t>
                          </a:r>
                          <a14:m>
                            <m:oMath xmlns:m="http://schemas.openxmlformats.org/officeDocument/2006/math">
                              <m:d>
                                <m:dPr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</m:ctrlPr>
                                </m:dPr>
                                <m:e>
                                  <m:f>
                                    <m:fPr>
                                      <m:type m:val="lin"/>
                                      <m:ctrlPr>
                                        <a:rPr lang="en-DE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Times New Roman" panose="02020603050405020304" pitchFamily="18" charset="0"/>
                                        </a:rPr>
                                      </m:ctrlPr>
                                    </m:fPr>
                                    <m:num>
                                      <m:f>
                                        <m:fPr>
                                          <m:type m:val="lin"/>
                                          <m:ctrlPr>
                                            <a:rPr lang="en-DE" sz="1200" i="1">
                                              <a:effectLst/>
                                              <a:latin typeface="Cambria Math" panose="02040503050406030204" pitchFamily="18" charset="0"/>
                                              <a:ea typeface="Arial" panose="020B0604020202020204" pitchFamily="34" charset="0"/>
                                              <a:cs typeface="Times New Roman" panose="02020603050405020304" pitchFamily="18" charset="0"/>
                                            </a:rPr>
                                          </m:ctrlPr>
                                        </m:fPr>
                                        <m:num>
                                          <m:sSub>
                                            <m:sSubPr>
                                              <m:ctrlPr>
                                                <a:rPr lang="en-DE" sz="1200" i="1">
                                                  <a:effectLst/>
                                                  <a:latin typeface="Cambria Math" panose="02040503050406030204" pitchFamily="18" charset="0"/>
                                                  <a:ea typeface="Arial" panose="020B0604020202020204" pitchFamily="34" charset="0"/>
                                                  <a:cs typeface="Times New Roman" panose="020206030504050203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GB" sz="1200" i="1">
                                                  <a:effectLst/>
                                                  <a:latin typeface="Cambria Math" panose="02040503050406030204" pitchFamily="18" charset="0"/>
                                                  <a:ea typeface="Arial" panose="020B0604020202020204" pitchFamily="34" charset="0"/>
                                                  <a:cs typeface="Times New Roman" panose="02020603050405020304" pitchFamily="18" charset="0"/>
                                                </a:rPr>
                                                <m:t>𝑦</m:t>
                                              </m:r>
                                            </m:e>
                                            <m:sub>
                                              <m:r>
                                                <a:rPr lang="en-GB" sz="1200" i="1">
                                                  <a:effectLst/>
                                                  <a:latin typeface="Cambria Math" panose="02040503050406030204" pitchFamily="18" charset="0"/>
                                                  <a:ea typeface="Arial" panose="020B0604020202020204" pitchFamily="34" charset="0"/>
                                                  <a:cs typeface="Times New Roman" panose="02020603050405020304" pitchFamily="18" charset="0"/>
                                                </a:rPr>
                                                <m:t>𝑃</m:t>
                                              </m:r>
                                            </m:sub>
                                          </m:sSub>
                                        </m:num>
                                        <m:den>
                                          <m:sSub>
                                            <m:sSubPr>
                                              <m:ctrlPr>
                                                <a:rPr lang="en-DE" sz="1200" i="1">
                                                  <a:effectLst/>
                                                  <a:latin typeface="Cambria Math" panose="02040503050406030204" pitchFamily="18" charset="0"/>
                                                  <a:ea typeface="Arial" panose="020B0604020202020204" pitchFamily="34" charset="0"/>
                                                  <a:cs typeface="Times New Roman" panose="020206030504050203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GB" sz="1200" i="1">
                                                  <a:effectLst/>
                                                  <a:latin typeface="Cambria Math" panose="02040503050406030204" pitchFamily="18" charset="0"/>
                                                  <a:ea typeface="Arial" panose="020B0604020202020204" pitchFamily="34" charset="0"/>
                                                  <a:cs typeface="Times New Roman" panose="02020603050405020304" pitchFamily="18" charset="0"/>
                                                </a:rPr>
                                                <m:t>𝑏</m:t>
                                              </m:r>
                                            </m:e>
                                            <m:sub>
                                              <m:r>
                                                <a:rPr lang="en-GB" sz="1200" i="1">
                                                  <a:effectLst/>
                                                  <a:latin typeface="Cambria Math" panose="02040503050406030204" pitchFamily="18" charset="0"/>
                                                  <a:ea typeface="Arial" panose="020B0604020202020204" pitchFamily="34" charset="0"/>
                                                  <a:cs typeface="Times New Roman" panose="02020603050405020304" pitchFamily="18" charset="0"/>
                                                </a:rPr>
                                                <m:t>𝑊</m:t>
                                              </m:r>
                                            </m:sub>
                                          </m:sSub>
                                        </m:den>
                                      </m:f>
                                    </m:num>
                                    <m:den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Times New Roman" panose="02020603050405020304" pitchFamily="18" charset="0"/>
                                        </a:rPr>
                                        <m:t>2</m:t>
                                      </m:r>
                                    </m:den>
                                  </m:f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  <m:t>, −</m:t>
                                  </m:r>
                                </m:e>
                              </m:d>
                            </m:oMath>
                          </a14:m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469</a:t>
                          </a:r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650803359"/>
                      </a:ext>
                    </a:extLst>
                  </a:tr>
                  <a:tr h="225594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Propeller relative inclination </a:t>
                          </a:r>
                          <a14:m>
                            <m:oMath xmlns:m="http://schemas.openxmlformats.org/officeDocument/2006/math">
                              <m:d>
                                <m:dPr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DE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  <m:t>𝛼</m:t>
                                      </m:r>
                                    </m:e>
                                    <m:sub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  <m:t>𝑃</m:t>
                                      </m:r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  <m:t>→</m:t>
                                      </m:r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  <m:t>𝑊</m:t>
                                      </m:r>
                                    </m:sub>
                                  </m:sSub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  <m:t>, </m:t>
                                  </m:r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  <m:t>𝑑𝑒𝑔</m:t>
                                  </m:r>
                                </m:e>
                              </m:d>
                            </m:oMath>
                          </a14:m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0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529236367"/>
                      </a:ext>
                    </a:extLst>
                  </a:tr>
                </a:tbl>
              </a:graphicData>
            </a:graphic>
          </p:graphicFrame>
        </mc:Choice>
        <mc:Fallback>
          <p:graphicFrame>
            <p:nvGraphicFramePr>
              <p:cNvPr id="8" name="Table 7">
                <a:extLst>
                  <a:ext uri="{FF2B5EF4-FFF2-40B4-BE49-F238E27FC236}">
                    <a16:creationId xmlns:a16="http://schemas.microsoft.com/office/drawing/2014/main" id="{A22561A6-91B7-5613-CC1B-8BF3BD6C64F1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4201420022"/>
                  </p:ext>
                </p:extLst>
              </p:nvPr>
            </p:nvGraphicFramePr>
            <p:xfrm>
              <a:off x="612814" y="1344825"/>
              <a:ext cx="4186438" cy="1364449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956770">
                      <a:extLst>
                        <a:ext uri="{9D8B030D-6E8A-4147-A177-3AD203B41FA5}">
                          <a16:colId xmlns:a16="http://schemas.microsoft.com/office/drawing/2014/main" val="4238621393"/>
                        </a:ext>
                      </a:extLst>
                    </a:gridCol>
                    <a:gridCol w="1229668">
                      <a:extLst>
                        <a:ext uri="{9D8B030D-6E8A-4147-A177-3AD203B41FA5}">
                          <a16:colId xmlns:a16="http://schemas.microsoft.com/office/drawing/2014/main" val="2029339879"/>
                        </a:ext>
                      </a:extLst>
                    </a:gridCol>
                  </a:tblGrid>
                  <a:tr h="225594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b="1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Parameter (Varying)</a:t>
                          </a:r>
                          <a:endParaRPr lang="en-DE" sz="1200" b="1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b="1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Range</a:t>
                          </a:r>
                          <a:endParaRPr lang="en-DE" sz="1200" b="1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018589997"/>
                      </a:ext>
                    </a:extLst>
                  </a:tr>
                  <a:tr h="236479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2"/>
                          <a:stretch>
                            <a:fillRect l="-206" t="-105128" r="-42387" b="-47179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, 2, 4, 6, 8, 10</a:t>
                          </a:r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866479078"/>
                      </a:ext>
                    </a:extLst>
                  </a:tr>
                  <a:tr h="225594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Rotation direction</a:t>
                          </a:r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IU</a:t>
                          </a:r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209481457"/>
                      </a:ext>
                    </a:extLst>
                  </a:tr>
                  <a:tr h="225594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2"/>
                          <a:stretch>
                            <a:fillRect l="-206" t="-307895" r="-42387" b="-28684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81, 0.95,1.11</a:t>
                          </a:r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369563425"/>
                      </a:ext>
                    </a:extLst>
                  </a:tr>
                  <a:tr h="225594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2"/>
                          <a:stretch>
                            <a:fillRect l="-206" t="-418919" r="-42387" b="-19459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469</a:t>
                          </a:r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650803359"/>
                      </a:ext>
                    </a:extLst>
                  </a:tr>
                  <a:tr h="225594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2"/>
                          <a:stretch>
                            <a:fillRect l="-206" t="-518919" r="-42387" b="-9459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0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529236367"/>
                      </a:ext>
                    </a:extLst>
                  </a:tr>
                </a:tbl>
              </a:graphicData>
            </a:graphic>
          </p:graphicFrame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6" name="Content Placeholder 2">
                <a:extLst>
                  <a:ext uri="{FF2B5EF4-FFF2-40B4-BE49-F238E27FC236}">
                    <a16:creationId xmlns:a16="http://schemas.microsoft.com/office/drawing/2014/main" id="{2D8B4533-EFCF-B987-1E09-BE27CF4D839D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317501" y="3229743"/>
                <a:ext cx="4906516" cy="19691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>
                <a:lvl1pPr marL="0" indent="0" algn="l" rtl="0" eaLnBrk="0" fontAlgn="base" hangingPunct="0">
                  <a:spcBef>
                    <a:spcPts val="0"/>
                  </a:spcBef>
                  <a:spcAft>
                    <a:spcPts val="0"/>
                  </a:spcAft>
                  <a:buFontTx/>
                  <a:buNone/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1pPr>
                <a:lvl2pPr marL="0" indent="0" algn="l" rtl="0" eaLnBrk="0" fontAlgn="base" hangingPunct="0">
                  <a:spcBef>
                    <a:spcPts val="2000"/>
                  </a:spcBef>
                  <a:spcAft>
                    <a:spcPct val="0"/>
                  </a:spcAft>
                  <a:buNone/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2pPr>
                <a:lvl3pPr marL="723900" indent="-3683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Verdana" pitchFamily="34" charset="0"/>
                  <a:buChar char="&gt;"/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3pPr>
                <a:lvl4pPr marL="0" indent="0" algn="l" rtl="0" eaLnBrk="0" fontAlgn="base" hangingPunct="0">
                  <a:spcBef>
                    <a:spcPts val="1600"/>
                  </a:spcBef>
                  <a:spcAft>
                    <a:spcPct val="0"/>
                  </a:spcAft>
                  <a:buFontTx/>
                  <a:buNone/>
                  <a:defRPr sz="11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4pPr>
                <a:lvl5pPr marL="723900" indent="-3683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Verdana" pitchFamily="34" charset="0"/>
                  <a:buChar char="&gt;"/>
                  <a:defRPr sz="11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r>
                  <a:rPr lang="en-US" sz="1200" dirty="0"/>
                  <a:t>As </a:t>
                </a:r>
                <a14:m>
                  <m:oMath xmlns:m="http://schemas.openxmlformats.org/officeDocument/2006/math">
                    <m:r>
                      <a:rPr lang="en-US" sz="1200" b="0" i="1" smtClean="0">
                        <a:latin typeface="Cambria Math" panose="02040503050406030204" pitchFamily="18" charset="0"/>
                      </a:rPr>
                      <m:t>𝐽</m:t>
                    </m:r>
                  </m:oMath>
                </a14:m>
                <a:r>
                  <a:rPr lang="en-US" sz="1200" dirty="0"/>
                  <a:t> increases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2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200" i="1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en-US" sz="1200" i="1">
                            <a:latin typeface="Cambria Math" panose="02040503050406030204" pitchFamily="18" charset="0"/>
                          </a:rPr>
                          <m:t>𝐿</m:t>
                        </m:r>
                      </m:sub>
                    </m:sSub>
                  </m:oMath>
                </a14:m>
                <a:r>
                  <a:rPr lang="en-US" sz="1200" dirty="0"/>
                  <a:t> decreases.</a:t>
                </a:r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r>
                  <a:rPr lang="en-US" sz="1200" dirty="0"/>
                  <a:t>At highe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2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2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en-US" sz="1200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sub>
                    </m:sSub>
                  </m:oMath>
                </a14:m>
                <a:r>
                  <a:rPr lang="en-US" sz="1200" dirty="0"/>
                  <a:t> positions, the difference 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2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200" i="1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en-US" sz="1200" i="1">
                            <a:latin typeface="Cambria Math" panose="02040503050406030204" pitchFamily="18" charset="0"/>
                          </a:rPr>
                          <m:t>𝐿</m:t>
                        </m:r>
                      </m:sub>
                    </m:sSub>
                  </m:oMath>
                </a14:m>
                <a:r>
                  <a:rPr lang="en-US" sz="1200" dirty="0"/>
                  <a:t> grew larger.</a:t>
                </a:r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r>
                  <a:rPr lang="en-US" sz="1200" dirty="0"/>
                  <a:t>At certain </a:t>
                </a:r>
                <a14:m>
                  <m:oMath xmlns:m="http://schemas.openxmlformats.org/officeDocument/2006/math">
                    <m:r>
                      <a:rPr lang="en-US" sz="1200" b="0" i="1" smtClean="0">
                        <a:latin typeface="Cambria Math" panose="02040503050406030204" pitchFamily="18" charset="0"/>
                      </a:rPr>
                      <m:t>𝐽</m:t>
                    </m:r>
                  </m:oMath>
                </a14:m>
                <a:r>
                  <a:rPr lang="en-US" sz="1200" dirty="0"/>
                  <a:t>, the propeller was thrusting and yet th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2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200" i="1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en-US" sz="1200" i="1">
                            <a:latin typeface="Cambria Math" panose="02040503050406030204" pitchFamily="18" charset="0"/>
                          </a:rPr>
                          <m:t>𝐿</m:t>
                        </m:r>
                      </m:sub>
                    </m:sSub>
                  </m:oMath>
                </a14:m>
                <a:r>
                  <a:rPr lang="en-US" sz="1200" dirty="0"/>
                  <a:t> for the wing-propeller model was lower than that of the standalone wing.</a:t>
                </a:r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endParaRPr lang="en-DE" sz="1500" dirty="0"/>
              </a:p>
            </p:txBody>
          </p:sp>
        </mc:Choice>
        <mc:Fallback>
          <p:sp>
            <p:nvSpPr>
              <p:cNvPr id="16" name="Content Placeholder 2">
                <a:extLst>
                  <a:ext uri="{FF2B5EF4-FFF2-40B4-BE49-F238E27FC236}">
                    <a16:creationId xmlns:a16="http://schemas.microsoft.com/office/drawing/2014/main" id="{2D8B4533-EFCF-B987-1E09-BE27CF4D839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17501" y="3229743"/>
                <a:ext cx="4906516" cy="1969121"/>
              </a:xfrm>
              <a:prstGeom prst="rect">
                <a:avLst/>
              </a:prstGeom>
              <a:blipFill>
                <a:blip r:embed="rId3"/>
                <a:stretch>
                  <a:fillRect l="-1739" t="-1548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" name="Picture 2">
            <a:extLst>
              <a:ext uri="{FF2B5EF4-FFF2-40B4-BE49-F238E27FC236}">
                <a16:creationId xmlns:a16="http://schemas.microsoft.com/office/drawing/2014/main" id="{DC77FA4F-651F-D232-239A-0EDF0C8F238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766" b="1556"/>
          <a:stretch/>
        </p:blipFill>
        <p:spPr bwMode="auto">
          <a:xfrm>
            <a:off x="5451446" y="1044266"/>
            <a:ext cx="4186439" cy="213335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D4B4307-5804-1701-72B7-E2A50D4516D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51446" y="3438073"/>
            <a:ext cx="4305664" cy="1723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11724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38ED40-9917-A294-BEA6-82CFEB6E35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lidation Studies</a:t>
            </a:r>
            <a:endParaRPr lang="en-D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94EA77-4737-FD1E-A05D-4B2E2F5578A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Propeller-Wing (Stationary) Interaction – Spanwise Location</a:t>
            </a:r>
            <a:endParaRPr lang="en-DE" dirty="0"/>
          </a:p>
        </p:txBody>
      </p:sp>
      <mc:AlternateContent xmlns:mc="http://schemas.openxmlformats.org/markup-compatibility/2006">
        <mc:Choice xmlns:a14="http://schemas.microsoft.com/office/drawing/2010/main" Requires="a14">
          <p:graphicFrame>
            <p:nvGraphicFramePr>
              <p:cNvPr id="8" name="Table 7">
                <a:extLst>
                  <a:ext uri="{FF2B5EF4-FFF2-40B4-BE49-F238E27FC236}">
                    <a16:creationId xmlns:a16="http://schemas.microsoft.com/office/drawing/2014/main" id="{A22561A6-91B7-5613-CC1B-8BF3BD6C64F1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846746159"/>
                  </p:ext>
                </p:extLst>
              </p:nvPr>
            </p:nvGraphicFramePr>
            <p:xfrm>
              <a:off x="612814" y="1344825"/>
              <a:ext cx="4186438" cy="1364449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956770">
                      <a:extLst>
                        <a:ext uri="{9D8B030D-6E8A-4147-A177-3AD203B41FA5}">
                          <a16:colId xmlns:a16="http://schemas.microsoft.com/office/drawing/2014/main" val="4238621393"/>
                        </a:ext>
                      </a:extLst>
                    </a:gridCol>
                    <a:gridCol w="1229668">
                      <a:extLst>
                        <a:ext uri="{9D8B030D-6E8A-4147-A177-3AD203B41FA5}">
                          <a16:colId xmlns:a16="http://schemas.microsoft.com/office/drawing/2014/main" val="2029339879"/>
                        </a:ext>
                      </a:extLst>
                    </a:gridCol>
                  </a:tblGrid>
                  <a:tr h="225594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b="1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Parameter (Varying)</a:t>
                          </a:r>
                          <a:endParaRPr lang="en-DE" sz="1200" b="1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b="1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Range</a:t>
                          </a:r>
                          <a:endParaRPr lang="en-DE" sz="1200" b="1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018589997"/>
                      </a:ext>
                    </a:extLst>
                  </a:tr>
                  <a:tr h="236479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Wing angle of attack </a:t>
                          </a:r>
                          <a14:m>
                            <m:oMath xmlns:m="http://schemas.openxmlformats.org/officeDocument/2006/math">
                              <m:d>
                                <m:dPr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DE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  <m:t>𝛼</m:t>
                                      </m:r>
                                    </m:e>
                                    <m:sub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  <m:t>𝑊</m:t>
                                      </m:r>
                                    </m:sub>
                                  </m:sSub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  <m:t>, </m:t>
                                  </m:r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  <m:t>𝑑𝑒𝑔</m:t>
                                  </m:r>
                                </m:e>
                              </m:d>
                            </m:oMath>
                          </a14:m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4.2</a:t>
                          </a:r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866479078"/>
                      </a:ext>
                    </a:extLst>
                  </a:tr>
                  <a:tr h="225594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Rotation direction</a:t>
                          </a:r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IU</a:t>
                          </a:r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209481457"/>
                      </a:ext>
                    </a:extLst>
                  </a:tr>
                  <a:tr h="225594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Advance ratio </a:t>
                          </a:r>
                          <a14:m>
                            <m:oMath xmlns:m="http://schemas.openxmlformats.org/officeDocument/2006/math">
                              <m:d>
                                <m:dPr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  <m:t>𝐽</m:t>
                                  </m:r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, −</m:t>
                                  </m:r>
                                </m:e>
                              </m:d>
                            </m:oMath>
                          </a14:m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1.07</a:t>
                          </a:r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369563425"/>
                      </a:ext>
                    </a:extLst>
                  </a:tr>
                  <a:tr h="225594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Normalised Y-position </a:t>
                          </a:r>
                          <a14:m>
                            <m:oMath xmlns:m="http://schemas.openxmlformats.org/officeDocument/2006/math">
                              <m:d>
                                <m:dPr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</m:ctrlPr>
                                </m:dPr>
                                <m:e>
                                  <m:f>
                                    <m:fPr>
                                      <m:type m:val="lin"/>
                                      <m:ctrlPr>
                                        <a:rPr lang="en-DE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Times New Roman" panose="02020603050405020304" pitchFamily="18" charset="0"/>
                                        </a:rPr>
                                      </m:ctrlPr>
                                    </m:fPr>
                                    <m:num>
                                      <m:f>
                                        <m:fPr>
                                          <m:type m:val="lin"/>
                                          <m:ctrlPr>
                                            <a:rPr lang="en-DE" sz="1200" i="1">
                                              <a:effectLst/>
                                              <a:latin typeface="Cambria Math" panose="02040503050406030204" pitchFamily="18" charset="0"/>
                                              <a:ea typeface="Arial" panose="020B0604020202020204" pitchFamily="34" charset="0"/>
                                              <a:cs typeface="Times New Roman" panose="02020603050405020304" pitchFamily="18" charset="0"/>
                                            </a:rPr>
                                          </m:ctrlPr>
                                        </m:fPr>
                                        <m:num>
                                          <m:sSub>
                                            <m:sSubPr>
                                              <m:ctrlPr>
                                                <a:rPr lang="en-DE" sz="1200" i="1">
                                                  <a:effectLst/>
                                                  <a:latin typeface="Cambria Math" panose="02040503050406030204" pitchFamily="18" charset="0"/>
                                                  <a:ea typeface="Arial" panose="020B0604020202020204" pitchFamily="34" charset="0"/>
                                                  <a:cs typeface="Times New Roman" panose="020206030504050203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GB" sz="1200" i="1">
                                                  <a:effectLst/>
                                                  <a:latin typeface="Cambria Math" panose="02040503050406030204" pitchFamily="18" charset="0"/>
                                                  <a:ea typeface="Arial" panose="020B0604020202020204" pitchFamily="34" charset="0"/>
                                                  <a:cs typeface="Times New Roman" panose="02020603050405020304" pitchFamily="18" charset="0"/>
                                                </a:rPr>
                                                <m:t>𝑦</m:t>
                                              </m:r>
                                            </m:e>
                                            <m:sub>
                                              <m:r>
                                                <a:rPr lang="en-GB" sz="1200" i="1">
                                                  <a:effectLst/>
                                                  <a:latin typeface="Cambria Math" panose="02040503050406030204" pitchFamily="18" charset="0"/>
                                                  <a:ea typeface="Arial" panose="020B0604020202020204" pitchFamily="34" charset="0"/>
                                                  <a:cs typeface="Times New Roman" panose="02020603050405020304" pitchFamily="18" charset="0"/>
                                                </a:rPr>
                                                <m:t>𝑃</m:t>
                                              </m:r>
                                            </m:sub>
                                          </m:sSub>
                                        </m:num>
                                        <m:den>
                                          <m:sSub>
                                            <m:sSubPr>
                                              <m:ctrlPr>
                                                <a:rPr lang="en-DE" sz="1200" i="1">
                                                  <a:effectLst/>
                                                  <a:latin typeface="Cambria Math" panose="02040503050406030204" pitchFamily="18" charset="0"/>
                                                  <a:ea typeface="Arial" panose="020B0604020202020204" pitchFamily="34" charset="0"/>
                                                  <a:cs typeface="Times New Roman" panose="020206030504050203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GB" sz="1200" i="1">
                                                  <a:effectLst/>
                                                  <a:latin typeface="Cambria Math" panose="02040503050406030204" pitchFamily="18" charset="0"/>
                                                  <a:ea typeface="Arial" panose="020B0604020202020204" pitchFamily="34" charset="0"/>
                                                  <a:cs typeface="Times New Roman" panose="02020603050405020304" pitchFamily="18" charset="0"/>
                                                </a:rPr>
                                                <m:t>𝑏</m:t>
                                              </m:r>
                                            </m:e>
                                            <m:sub>
                                              <m:r>
                                                <a:rPr lang="en-GB" sz="1200" i="1">
                                                  <a:effectLst/>
                                                  <a:latin typeface="Cambria Math" panose="02040503050406030204" pitchFamily="18" charset="0"/>
                                                  <a:ea typeface="Arial" panose="020B0604020202020204" pitchFamily="34" charset="0"/>
                                                  <a:cs typeface="Times New Roman" panose="02020603050405020304" pitchFamily="18" charset="0"/>
                                                </a:rPr>
                                                <m:t>𝑊</m:t>
                                              </m:r>
                                            </m:sub>
                                          </m:sSub>
                                        </m:den>
                                      </m:f>
                                    </m:num>
                                    <m:den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Times New Roman" panose="02020603050405020304" pitchFamily="18" charset="0"/>
                                        </a:rPr>
                                        <m:t>2</m:t>
                                      </m:r>
                                    </m:den>
                                  </m:f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  <m:t>, −</m:t>
                                  </m:r>
                                </m:e>
                              </m:d>
                            </m:oMath>
                          </a14:m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3, …., 1.0</a:t>
                          </a:r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650803359"/>
                      </a:ext>
                    </a:extLst>
                  </a:tr>
                  <a:tr h="225594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Propeller relative inclination </a:t>
                          </a:r>
                          <a14:m>
                            <m:oMath xmlns:m="http://schemas.openxmlformats.org/officeDocument/2006/math">
                              <m:d>
                                <m:dPr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DE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  <m:t>𝛼</m:t>
                                      </m:r>
                                    </m:e>
                                    <m:sub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  <m:t>𝑃</m:t>
                                      </m:r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  <m:t>→</m:t>
                                      </m:r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  <m:t>𝑊</m:t>
                                      </m:r>
                                    </m:sub>
                                  </m:sSub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  <m:t>, </m:t>
                                  </m:r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  <m:t>𝑑𝑒𝑔</m:t>
                                  </m:r>
                                </m:e>
                              </m:d>
                            </m:oMath>
                          </a14:m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0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529236367"/>
                      </a:ext>
                    </a:extLst>
                  </a:tr>
                </a:tbl>
              </a:graphicData>
            </a:graphic>
          </p:graphicFrame>
        </mc:Choice>
        <mc:Fallback>
          <p:graphicFrame>
            <p:nvGraphicFramePr>
              <p:cNvPr id="8" name="Table 7">
                <a:extLst>
                  <a:ext uri="{FF2B5EF4-FFF2-40B4-BE49-F238E27FC236}">
                    <a16:creationId xmlns:a16="http://schemas.microsoft.com/office/drawing/2014/main" id="{A22561A6-91B7-5613-CC1B-8BF3BD6C64F1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846746159"/>
                  </p:ext>
                </p:extLst>
              </p:nvPr>
            </p:nvGraphicFramePr>
            <p:xfrm>
              <a:off x="612814" y="1344825"/>
              <a:ext cx="4186438" cy="1364449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956770">
                      <a:extLst>
                        <a:ext uri="{9D8B030D-6E8A-4147-A177-3AD203B41FA5}">
                          <a16:colId xmlns:a16="http://schemas.microsoft.com/office/drawing/2014/main" val="4238621393"/>
                        </a:ext>
                      </a:extLst>
                    </a:gridCol>
                    <a:gridCol w="1229668">
                      <a:extLst>
                        <a:ext uri="{9D8B030D-6E8A-4147-A177-3AD203B41FA5}">
                          <a16:colId xmlns:a16="http://schemas.microsoft.com/office/drawing/2014/main" val="2029339879"/>
                        </a:ext>
                      </a:extLst>
                    </a:gridCol>
                  </a:tblGrid>
                  <a:tr h="225594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b="1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Parameter (Varying)</a:t>
                          </a:r>
                          <a:endParaRPr lang="en-DE" sz="1200" b="1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b="1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Range</a:t>
                          </a:r>
                          <a:endParaRPr lang="en-DE" sz="1200" b="1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018589997"/>
                      </a:ext>
                    </a:extLst>
                  </a:tr>
                  <a:tr h="236479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2"/>
                          <a:stretch>
                            <a:fillRect l="-206" t="-105128" r="-42387" b="-47179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4.2</a:t>
                          </a:r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866479078"/>
                      </a:ext>
                    </a:extLst>
                  </a:tr>
                  <a:tr h="225594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Rotation direction</a:t>
                          </a:r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IU</a:t>
                          </a:r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209481457"/>
                      </a:ext>
                    </a:extLst>
                  </a:tr>
                  <a:tr h="225594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2"/>
                          <a:stretch>
                            <a:fillRect l="-206" t="-307895" r="-42387" b="-28684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1.07</a:t>
                          </a:r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369563425"/>
                      </a:ext>
                    </a:extLst>
                  </a:tr>
                  <a:tr h="225594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2"/>
                          <a:stretch>
                            <a:fillRect l="-206" t="-418919" r="-42387" b="-19459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3, …., 1.0</a:t>
                          </a:r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650803359"/>
                      </a:ext>
                    </a:extLst>
                  </a:tr>
                  <a:tr h="225594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2"/>
                          <a:stretch>
                            <a:fillRect l="-206" t="-518919" r="-42387" b="-9459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0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529236367"/>
                      </a:ext>
                    </a:extLst>
                  </a:tr>
                </a:tbl>
              </a:graphicData>
            </a:graphic>
          </p:graphicFrame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6" name="Content Placeholder 2">
                <a:extLst>
                  <a:ext uri="{FF2B5EF4-FFF2-40B4-BE49-F238E27FC236}">
                    <a16:creationId xmlns:a16="http://schemas.microsoft.com/office/drawing/2014/main" id="{2D8B4533-EFCF-B987-1E09-BE27CF4D839D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317501" y="3229743"/>
                <a:ext cx="4906516" cy="19691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>
                <a:lvl1pPr marL="0" indent="0" algn="l" rtl="0" eaLnBrk="0" fontAlgn="base" hangingPunct="0">
                  <a:spcBef>
                    <a:spcPts val="0"/>
                  </a:spcBef>
                  <a:spcAft>
                    <a:spcPts val="0"/>
                  </a:spcAft>
                  <a:buFontTx/>
                  <a:buNone/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1pPr>
                <a:lvl2pPr marL="0" indent="0" algn="l" rtl="0" eaLnBrk="0" fontAlgn="base" hangingPunct="0">
                  <a:spcBef>
                    <a:spcPts val="2000"/>
                  </a:spcBef>
                  <a:spcAft>
                    <a:spcPct val="0"/>
                  </a:spcAft>
                  <a:buNone/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2pPr>
                <a:lvl3pPr marL="723900" indent="-3683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Verdana" pitchFamily="34" charset="0"/>
                  <a:buChar char="&gt;"/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3pPr>
                <a:lvl4pPr marL="0" indent="0" algn="l" rtl="0" eaLnBrk="0" fontAlgn="base" hangingPunct="0">
                  <a:spcBef>
                    <a:spcPts val="1600"/>
                  </a:spcBef>
                  <a:spcAft>
                    <a:spcPct val="0"/>
                  </a:spcAft>
                  <a:buFontTx/>
                  <a:buNone/>
                  <a:defRPr sz="11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4pPr>
                <a:lvl5pPr marL="723900" indent="-3683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Verdana" pitchFamily="34" charset="0"/>
                  <a:buChar char="&gt;"/>
                  <a:defRPr sz="11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r>
                  <a:rPr lang="en-US" sz="1200" dirty="0"/>
                  <a:t>For propeller positions closer to the wingtip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2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200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en-US" sz="1200" b="0" i="1" smtClean="0">
                            <a:latin typeface="Cambria Math" panose="02040503050406030204" pitchFamily="18" charset="0"/>
                          </a:rPr>
                          <m:t>𝐿</m:t>
                        </m:r>
                      </m:sub>
                    </m:sSub>
                  </m:oMath>
                </a14:m>
                <a:r>
                  <a:rPr lang="en-US" sz="1200" dirty="0"/>
                  <a:t> increased, whil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2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200" i="1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sSub>
                          <m:sSubPr>
                            <m:ctrlPr>
                              <a:rPr lang="en-US" sz="120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  <m:t>𝐷</m:t>
                            </m:r>
                          </m:e>
                          <m:sub>
                            <m: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  <m:t>𝑖𝑛𝑣</m:t>
                            </m:r>
                          </m:sub>
                        </m:sSub>
                      </m:sub>
                    </m:sSub>
                  </m:oMath>
                </a14:m>
                <a:r>
                  <a:rPr lang="en-US" sz="1200" dirty="0"/>
                  <a:t> decreased.</a:t>
                </a:r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r>
                  <a:rPr lang="en-US" sz="1200" dirty="0"/>
                  <a:t>For conventional propeller spanwise positions, </a:t>
                </a:r>
                <a14:m>
                  <m:oMath xmlns:m="http://schemas.openxmlformats.org/officeDocument/2006/math">
                    <m:f>
                      <m:fPr>
                        <m:type m:val="lin"/>
                        <m:ctrlPr>
                          <a:rPr lang="en-DE" sz="1200" i="1" smtClean="0">
                            <a:effectLst/>
                            <a:latin typeface="Cambria Math" panose="02040503050406030204" pitchFamily="18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rPr>
                        </m:ctrlPr>
                      </m:fPr>
                      <m:num>
                        <m:r>
                          <a:rPr lang="en-US" sz="1200" b="0" i="1" smtClean="0">
                            <a:effectLst/>
                            <a:latin typeface="Cambria Math" panose="02040503050406030204" pitchFamily="18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rPr>
                          <m:t>0.3≤</m:t>
                        </m:r>
                        <m:f>
                          <m:fPr>
                            <m:type m:val="lin"/>
                            <m:ctrlPr>
                              <a:rPr lang="en-DE" sz="1200" i="1">
                                <a:effectLst/>
                                <a:latin typeface="Cambria Math" panose="02040503050406030204" pitchFamily="18" charset="0"/>
                                <a:ea typeface="Arial" panose="020B0604020202020204" pitchFamily="34" charset="0"/>
                                <a:cs typeface="Times New Roman" panose="02020603050405020304" pitchFamily="18" charset="0"/>
                              </a:rPr>
                            </m:ctrlPr>
                          </m:fPr>
                          <m:num>
                            <m:sSub>
                              <m:sSubPr>
                                <m:ctrlPr>
                                  <a:rPr lang="en-DE" sz="1200" i="1">
                                    <a:effectLst/>
                                    <a:latin typeface="Cambria Math" panose="02040503050406030204" pitchFamily="18" charset="0"/>
                                    <a:ea typeface="Arial" panose="020B0604020202020204" pitchFamily="34" charset="0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GB" sz="1200" i="1">
                                    <a:effectLst/>
                                    <a:latin typeface="Cambria Math" panose="02040503050406030204" pitchFamily="18" charset="0"/>
                                    <a:ea typeface="Arial" panose="020B0604020202020204" pitchFamily="34" charset="0"/>
                                    <a:cs typeface="Times New Roman" panose="02020603050405020304" pitchFamily="18" charset="0"/>
                                  </a:rPr>
                                  <m:t>𝑦</m:t>
                                </m:r>
                              </m:e>
                              <m:sub>
                                <m:r>
                                  <a:rPr lang="en-GB" sz="1200" i="1">
                                    <a:effectLst/>
                                    <a:latin typeface="Cambria Math" panose="02040503050406030204" pitchFamily="18" charset="0"/>
                                    <a:ea typeface="Arial" panose="020B0604020202020204" pitchFamily="34" charset="0"/>
                                    <a:cs typeface="Times New Roman" panose="02020603050405020304" pitchFamily="18" charset="0"/>
                                  </a:rPr>
                                  <m:t>𝑃</m:t>
                                </m:r>
                              </m:sub>
                            </m:sSub>
                          </m:num>
                          <m:den>
                            <m:sSub>
                              <m:sSubPr>
                                <m:ctrlPr>
                                  <a:rPr lang="en-DE" sz="1200" i="1">
                                    <a:effectLst/>
                                    <a:latin typeface="Cambria Math" panose="02040503050406030204" pitchFamily="18" charset="0"/>
                                    <a:ea typeface="Arial" panose="020B0604020202020204" pitchFamily="34" charset="0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GB" sz="1200" i="1">
                                    <a:effectLst/>
                                    <a:latin typeface="Cambria Math" panose="02040503050406030204" pitchFamily="18" charset="0"/>
                                    <a:ea typeface="Arial" panose="020B0604020202020204" pitchFamily="34" charset="0"/>
                                    <a:cs typeface="Times New Roman" panose="02020603050405020304" pitchFamily="18" charset="0"/>
                                  </a:rPr>
                                  <m:t>𝑏</m:t>
                                </m:r>
                              </m:e>
                              <m:sub>
                                <m:r>
                                  <a:rPr lang="en-GB" sz="1200" i="1">
                                    <a:effectLst/>
                                    <a:latin typeface="Cambria Math" panose="02040503050406030204" pitchFamily="18" charset="0"/>
                                    <a:ea typeface="Arial" panose="020B0604020202020204" pitchFamily="34" charset="0"/>
                                    <a:cs typeface="Times New Roman" panose="02020603050405020304" pitchFamily="18" charset="0"/>
                                  </a:rPr>
                                  <m:t>𝑊</m:t>
                                </m:r>
                              </m:sub>
                            </m:sSub>
                          </m:den>
                        </m:f>
                      </m:num>
                      <m:den>
                        <m:r>
                          <a:rPr lang="en-GB" sz="1200" i="1">
                            <a:effectLst/>
                            <a:latin typeface="Cambria Math" panose="02040503050406030204" pitchFamily="18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rPr>
                          <m:t>2</m:t>
                        </m:r>
                      </m:den>
                    </m:f>
                    <m:r>
                      <a:rPr lang="en-US" sz="1200" b="0" i="0" smtClean="0">
                        <a:effectLst/>
                        <a:latin typeface="Cambria Math" panose="02040503050406030204" pitchFamily="18" charset="0"/>
                        <a:ea typeface="Arial" panose="020B0604020202020204" pitchFamily="34" charset="0"/>
                        <a:cs typeface="Times New Roman" panose="02020603050405020304" pitchFamily="18" charset="0"/>
                      </a:rPr>
                      <m:t>≤0.5</m:t>
                    </m:r>
                  </m:oMath>
                </a14:m>
                <a:r>
                  <a:rPr lang="en-US" sz="1200" dirty="0"/>
                  <a:t>, </a:t>
                </a:r>
                <a14:m>
                  <m:oMath xmlns:m="http://schemas.openxmlformats.org/officeDocument/2006/math">
                    <m:f>
                      <m:fPr>
                        <m:type m:val="lin"/>
                        <m:ctrlPr>
                          <a:rPr lang="en-US" sz="12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sz="12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200" i="1"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1200" i="1">
                                <a:latin typeface="Cambria Math" panose="02040503050406030204" pitchFamily="18" charset="0"/>
                              </a:rPr>
                              <m:t>𝐿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en-US" sz="12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200" i="1"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sSub>
                              <m:sSubPr>
                                <m:ctrlPr>
                                  <a:rPr 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1200" i="1"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</m:e>
                              <m:sub>
                                <m:r>
                                  <a:rPr lang="en-US" sz="1200" i="1">
                                    <a:latin typeface="Cambria Math" panose="02040503050406030204" pitchFamily="18" charset="0"/>
                                  </a:rPr>
                                  <m:t>𝑖𝑛𝑣</m:t>
                                </m:r>
                              </m:sub>
                            </m:sSub>
                          </m:sub>
                        </m:sSub>
                      </m:den>
                    </m:f>
                  </m:oMath>
                </a14:m>
                <a:r>
                  <a:rPr lang="en-US" sz="1200" dirty="0"/>
                  <a:t> did not vary too much.</a:t>
                </a:r>
              </a:p>
            </p:txBody>
          </p:sp>
        </mc:Choice>
        <mc:Fallback>
          <p:sp>
            <p:nvSpPr>
              <p:cNvPr id="16" name="Content Placeholder 2">
                <a:extLst>
                  <a:ext uri="{FF2B5EF4-FFF2-40B4-BE49-F238E27FC236}">
                    <a16:creationId xmlns:a16="http://schemas.microsoft.com/office/drawing/2014/main" id="{2D8B4533-EFCF-B987-1E09-BE27CF4D839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17501" y="3229743"/>
                <a:ext cx="4906516" cy="1969121"/>
              </a:xfrm>
              <a:prstGeom prst="rect">
                <a:avLst/>
              </a:prstGeom>
              <a:blipFill>
                <a:blip r:embed="rId3"/>
                <a:stretch>
                  <a:fillRect l="-1739" t="-1548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" name="Picture 2">
            <a:extLst>
              <a:ext uri="{FF2B5EF4-FFF2-40B4-BE49-F238E27FC236}">
                <a16:creationId xmlns:a16="http://schemas.microsoft.com/office/drawing/2014/main" id="{5841E69F-1D6C-6356-713A-BD63EAF9EF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51955" y="1085916"/>
            <a:ext cx="4295231" cy="214382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E76BDDB-1F3D-ACA8-A497-DA6F39AF5D7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601" b="1409"/>
          <a:stretch/>
        </p:blipFill>
        <p:spPr bwMode="auto">
          <a:xfrm>
            <a:off x="5251955" y="3228248"/>
            <a:ext cx="4428284" cy="214382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5917779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6E013A-6095-74C3-F3E8-7FF1211940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0" y="409229"/>
            <a:ext cx="8960000" cy="385252"/>
          </a:xfrm>
        </p:spPr>
        <p:txBody>
          <a:bodyPr/>
          <a:lstStyle/>
          <a:p>
            <a:r>
              <a:rPr lang="de-DE" dirty="0"/>
              <a:t>Introduct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88D1A24-C230-55E6-8ECB-1193715A3F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7501" y="1129308"/>
            <a:ext cx="9154987" cy="4320480"/>
          </a:xfrm>
        </p:spPr>
        <p:txBody>
          <a:bodyPr/>
          <a:lstStyle/>
          <a:p>
            <a:pPr marL="285744" indent="-285744">
              <a:lnSpc>
                <a:spcPct val="125000"/>
              </a:lnSpc>
              <a:buFont typeface="Wingdings" panose="05000000000000000000" pitchFamily="2" charset="2"/>
              <a:buChar char="§"/>
            </a:pPr>
            <a:r>
              <a:rPr lang="en-US" sz="1500" dirty="0"/>
              <a:t>Propellers, once seen as outdated, are now key in modern aircraft design.</a:t>
            </a:r>
          </a:p>
          <a:p>
            <a:pPr marL="285744" indent="-285744">
              <a:lnSpc>
                <a:spcPct val="125000"/>
              </a:lnSpc>
              <a:buFont typeface="Wingdings" panose="05000000000000000000" pitchFamily="2" charset="2"/>
              <a:buChar char="§"/>
            </a:pPr>
            <a:r>
              <a:rPr lang="en-US" sz="1500" dirty="0"/>
              <a:t>Increasing relevance due to electric propulsion systems and urban air mobility (eVTOLs, air taxis).</a:t>
            </a:r>
          </a:p>
          <a:p>
            <a:pPr marL="285744" indent="-285744">
              <a:lnSpc>
                <a:spcPct val="125000"/>
              </a:lnSpc>
              <a:buFont typeface="Wingdings" panose="05000000000000000000" pitchFamily="2" charset="2"/>
              <a:buChar char="§"/>
            </a:pPr>
            <a:r>
              <a:rPr lang="en-US" sz="1500" dirty="0"/>
              <a:t>Critical for </a:t>
            </a:r>
            <a:r>
              <a:rPr lang="en-GB" sz="1500" dirty="0"/>
              <a:t>optimising</a:t>
            </a:r>
            <a:r>
              <a:rPr lang="en-US" sz="1500" dirty="0"/>
              <a:t> aerodynamic performance in new aircraft designs.</a:t>
            </a:r>
          </a:p>
          <a:p>
            <a:pPr marL="285744" indent="-285744">
              <a:lnSpc>
                <a:spcPct val="125000"/>
              </a:lnSpc>
              <a:buFont typeface="Wingdings" panose="05000000000000000000" pitchFamily="2" charset="2"/>
              <a:buChar char="§"/>
            </a:pPr>
            <a:r>
              <a:rPr lang="en-US" sz="1500" dirty="0"/>
              <a:t>Important for maintaining aircraft stability and structural integrity by avoiding </a:t>
            </a:r>
            <a:r>
              <a:rPr lang="en-US" sz="1500" u="sng" dirty="0"/>
              <a:t>flutter</a:t>
            </a:r>
            <a:r>
              <a:rPr lang="en-US" sz="1500" dirty="0"/>
              <a:t> and </a:t>
            </a:r>
            <a:r>
              <a:rPr lang="en-US" sz="1500" u="sng" dirty="0"/>
              <a:t>divergence</a:t>
            </a:r>
            <a:r>
              <a:rPr lang="en-US" sz="1500" dirty="0"/>
              <a:t>.</a:t>
            </a:r>
          </a:p>
          <a:p>
            <a:pPr marL="285744" indent="-285744">
              <a:lnSpc>
                <a:spcPct val="125000"/>
              </a:lnSpc>
              <a:buFont typeface="Wingdings" panose="05000000000000000000" pitchFamily="2" charset="2"/>
              <a:buChar char="§"/>
            </a:pPr>
            <a:r>
              <a:rPr lang="en-US" sz="1500" dirty="0"/>
              <a:t>Present research on propeller-wing interaction is focused on stationary conditions. Very little research has been done on propeller-wing interaction on dynamic systems.</a:t>
            </a:r>
          </a:p>
          <a:p>
            <a:endParaRPr lang="en-US" sz="1500" dirty="0"/>
          </a:p>
          <a:p>
            <a:endParaRPr lang="en-US" b="1" dirty="0"/>
          </a:p>
        </p:txBody>
      </p:sp>
      <p:pic>
        <p:nvPicPr>
          <p:cNvPr id="1026" name="Picture 2" descr="What is an eVTOL? Flying vehicles may ...">
            <a:extLst>
              <a:ext uri="{FF2B5EF4-FFF2-40B4-BE49-F238E27FC236}">
                <a16:creationId xmlns:a16="http://schemas.microsoft.com/office/drawing/2014/main" id="{F7090133-8368-ABA0-1869-3939CDFECF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auto">
          <a:xfrm>
            <a:off x="471488" y="3651386"/>
            <a:ext cx="2857500" cy="16002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DVIDS - News - 133rd Airlift Wing ...">
            <a:extLst>
              <a:ext uri="{FF2B5EF4-FFF2-40B4-BE49-F238E27FC236}">
                <a16:creationId xmlns:a16="http://schemas.microsoft.com/office/drawing/2014/main" id="{7A9A4EF9-6D96-AAC3-6954-1768C77D75B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auto">
          <a:xfrm>
            <a:off x="3537681" y="3565661"/>
            <a:ext cx="2714625" cy="168592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Aircraft Flutter on Make a GIF">
            <a:extLst>
              <a:ext uri="{FF2B5EF4-FFF2-40B4-BE49-F238E27FC236}">
                <a16:creationId xmlns:a16="http://schemas.microsoft.com/office/drawing/2014/main" id="{0457A9BC-96C1-BE76-34B1-7681B2EF0F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2345" y="3486084"/>
            <a:ext cx="2460104" cy="1845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04452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38ED40-9917-A294-BEA6-82CFEB6E35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lidation Studies</a:t>
            </a:r>
            <a:endParaRPr lang="en-D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94EA77-4737-FD1E-A05D-4B2E2F5578A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Propeller-Wing (Stationary) Interaction – Propeller Inclination</a:t>
            </a:r>
            <a:endParaRPr lang="en-DE" dirty="0"/>
          </a:p>
        </p:txBody>
      </p:sp>
      <mc:AlternateContent xmlns:mc="http://schemas.openxmlformats.org/markup-compatibility/2006">
        <mc:Choice xmlns:a14="http://schemas.microsoft.com/office/drawing/2010/main" Requires="a14">
          <p:graphicFrame>
            <p:nvGraphicFramePr>
              <p:cNvPr id="8" name="Table 7">
                <a:extLst>
                  <a:ext uri="{FF2B5EF4-FFF2-40B4-BE49-F238E27FC236}">
                    <a16:creationId xmlns:a16="http://schemas.microsoft.com/office/drawing/2014/main" id="{A22561A6-91B7-5613-CC1B-8BF3BD6C64F1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983553786"/>
                  </p:ext>
                </p:extLst>
              </p:nvPr>
            </p:nvGraphicFramePr>
            <p:xfrm>
              <a:off x="612814" y="1344825"/>
              <a:ext cx="4186438" cy="1364449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956770">
                      <a:extLst>
                        <a:ext uri="{9D8B030D-6E8A-4147-A177-3AD203B41FA5}">
                          <a16:colId xmlns:a16="http://schemas.microsoft.com/office/drawing/2014/main" val="4238621393"/>
                        </a:ext>
                      </a:extLst>
                    </a:gridCol>
                    <a:gridCol w="1229668">
                      <a:extLst>
                        <a:ext uri="{9D8B030D-6E8A-4147-A177-3AD203B41FA5}">
                          <a16:colId xmlns:a16="http://schemas.microsoft.com/office/drawing/2014/main" val="2029339879"/>
                        </a:ext>
                      </a:extLst>
                    </a:gridCol>
                  </a:tblGrid>
                  <a:tr h="225594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b="1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Parameter (Varying)</a:t>
                          </a:r>
                          <a:endParaRPr lang="en-DE" sz="1200" b="1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b="1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Range</a:t>
                          </a:r>
                          <a:endParaRPr lang="en-DE" sz="1200" b="1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018589997"/>
                      </a:ext>
                    </a:extLst>
                  </a:tr>
                  <a:tr h="236479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Wing angle of attack </a:t>
                          </a:r>
                          <a14:m>
                            <m:oMath xmlns:m="http://schemas.openxmlformats.org/officeDocument/2006/math">
                              <m:d>
                                <m:dPr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DE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  <m:t>𝛼</m:t>
                                      </m:r>
                                    </m:e>
                                    <m:sub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  <m:t>𝑊</m:t>
                                      </m:r>
                                    </m:sub>
                                  </m:sSub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  <m:t>, </m:t>
                                  </m:r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  <m:t>𝑑𝑒𝑔</m:t>
                                  </m:r>
                                </m:e>
                              </m:d>
                            </m:oMath>
                          </a14:m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4.2, 8.4</a:t>
                          </a:r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866479078"/>
                      </a:ext>
                    </a:extLst>
                  </a:tr>
                  <a:tr h="225594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Rotation direction</a:t>
                          </a:r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92</a:t>
                          </a:r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209481457"/>
                      </a:ext>
                    </a:extLst>
                  </a:tr>
                  <a:tr h="225594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Advance ratio </a:t>
                          </a:r>
                          <a14:m>
                            <m:oMath xmlns:m="http://schemas.openxmlformats.org/officeDocument/2006/math">
                              <m:d>
                                <m:dPr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  <m:t>𝐽</m:t>
                                  </m:r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, −</m:t>
                                  </m:r>
                                </m:e>
                              </m:d>
                            </m:oMath>
                          </a14:m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IU</a:t>
                          </a:r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369563425"/>
                      </a:ext>
                    </a:extLst>
                  </a:tr>
                  <a:tr h="225594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Normalised Y-position </a:t>
                          </a:r>
                          <a14:m>
                            <m:oMath xmlns:m="http://schemas.openxmlformats.org/officeDocument/2006/math">
                              <m:d>
                                <m:dPr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</m:ctrlPr>
                                </m:dPr>
                                <m:e>
                                  <m:f>
                                    <m:fPr>
                                      <m:type m:val="lin"/>
                                      <m:ctrlPr>
                                        <a:rPr lang="en-DE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Times New Roman" panose="02020603050405020304" pitchFamily="18" charset="0"/>
                                        </a:rPr>
                                      </m:ctrlPr>
                                    </m:fPr>
                                    <m:num>
                                      <m:f>
                                        <m:fPr>
                                          <m:type m:val="lin"/>
                                          <m:ctrlPr>
                                            <a:rPr lang="en-DE" sz="1200" i="1">
                                              <a:effectLst/>
                                              <a:latin typeface="Cambria Math" panose="02040503050406030204" pitchFamily="18" charset="0"/>
                                              <a:ea typeface="Arial" panose="020B0604020202020204" pitchFamily="34" charset="0"/>
                                              <a:cs typeface="Times New Roman" panose="02020603050405020304" pitchFamily="18" charset="0"/>
                                            </a:rPr>
                                          </m:ctrlPr>
                                        </m:fPr>
                                        <m:num>
                                          <m:sSub>
                                            <m:sSubPr>
                                              <m:ctrlPr>
                                                <a:rPr lang="en-DE" sz="1200" i="1">
                                                  <a:effectLst/>
                                                  <a:latin typeface="Cambria Math" panose="02040503050406030204" pitchFamily="18" charset="0"/>
                                                  <a:ea typeface="Arial" panose="020B0604020202020204" pitchFamily="34" charset="0"/>
                                                  <a:cs typeface="Times New Roman" panose="020206030504050203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GB" sz="1200" i="1">
                                                  <a:effectLst/>
                                                  <a:latin typeface="Cambria Math" panose="02040503050406030204" pitchFamily="18" charset="0"/>
                                                  <a:ea typeface="Arial" panose="020B0604020202020204" pitchFamily="34" charset="0"/>
                                                  <a:cs typeface="Times New Roman" panose="02020603050405020304" pitchFamily="18" charset="0"/>
                                                </a:rPr>
                                                <m:t>𝑦</m:t>
                                              </m:r>
                                            </m:e>
                                            <m:sub>
                                              <m:r>
                                                <a:rPr lang="en-GB" sz="1200" i="1">
                                                  <a:effectLst/>
                                                  <a:latin typeface="Cambria Math" panose="02040503050406030204" pitchFamily="18" charset="0"/>
                                                  <a:ea typeface="Arial" panose="020B0604020202020204" pitchFamily="34" charset="0"/>
                                                  <a:cs typeface="Times New Roman" panose="02020603050405020304" pitchFamily="18" charset="0"/>
                                                </a:rPr>
                                                <m:t>𝑃</m:t>
                                              </m:r>
                                            </m:sub>
                                          </m:sSub>
                                        </m:num>
                                        <m:den>
                                          <m:sSub>
                                            <m:sSubPr>
                                              <m:ctrlPr>
                                                <a:rPr lang="en-DE" sz="1200" i="1">
                                                  <a:effectLst/>
                                                  <a:latin typeface="Cambria Math" panose="02040503050406030204" pitchFamily="18" charset="0"/>
                                                  <a:ea typeface="Arial" panose="020B0604020202020204" pitchFamily="34" charset="0"/>
                                                  <a:cs typeface="Times New Roman" panose="020206030504050203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GB" sz="1200" i="1">
                                                  <a:effectLst/>
                                                  <a:latin typeface="Cambria Math" panose="02040503050406030204" pitchFamily="18" charset="0"/>
                                                  <a:ea typeface="Arial" panose="020B0604020202020204" pitchFamily="34" charset="0"/>
                                                  <a:cs typeface="Times New Roman" panose="02020603050405020304" pitchFamily="18" charset="0"/>
                                                </a:rPr>
                                                <m:t>𝑏</m:t>
                                              </m:r>
                                            </m:e>
                                            <m:sub>
                                              <m:r>
                                                <a:rPr lang="en-GB" sz="1200" i="1">
                                                  <a:effectLst/>
                                                  <a:latin typeface="Cambria Math" panose="02040503050406030204" pitchFamily="18" charset="0"/>
                                                  <a:ea typeface="Arial" panose="020B0604020202020204" pitchFamily="34" charset="0"/>
                                                  <a:cs typeface="Times New Roman" panose="02020603050405020304" pitchFamily="18" charset="0"/>
                                                </a:rPr>
                                                <m:t>𝑊</m:t>
                                              </m:r>
                                            </m:sub>
                                          </m:sSub>
                                        </m:den>
                                      </m:f>
                                    </m:num>
                                    <m:den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Times New Roman" panose="02020603050405020304" pitchFamily="18" charset="0"/>
                                        </a:rPr>
                                        <m:t>2</m:t>
                                      </m:r>
                                    </m:den>
                                  </m:f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  <m:t>, −</m:t>
                                  </m:r>
                                </m:e>
                              </m:d>
                            </m:oMath>
                          </a14:m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469</a:t>
                          </a:r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650803359"/>
                      </a:ext>
                    </a:extLst>
                  </a:tr>
                  <a:tr h="225594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Propeller relative inclination </a:t>
                          </a:r>
                          <a14:m>
                            <m:oMath xmlns:m="http://schemas.openxmlformats.org/officeDocument/2006/math">
                              <m:d>
                                <m:dPr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DE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  <m:t>𝛼</m:t>
                                      </m:r>
                                    </m:e>
                                    <m:sub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  <m:t>𝑃</m:t>
                                      </m:r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  <m:t>→</m:t>
                                      </m:r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  <m:t>𝑊</m:t>
                                      </m:r>
                                    </m:sub>
                                  </m:sSub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  <m:t>, </m:t>
                                  </m:r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  <m:t>𝑑𝑒𝑔</m:t>
                                  </m:r>
                                </m:e>
                              </m:d>
                            </m:oMath>
                          </a14:m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-24, …., 14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529236367"/>
                      </a:ext>
                    </a:extLst>
                  </a:tr>
                </a:tbl>
              </a:graphicData>
            </a:graphic>
          </p:graphicFrame>
        </mc:Choice>
        <mc:Fallback>
          <p:graphicFrame>
            <p:nvGraphicFramePr>
              <p:cNvPr id="8" name="Table 7">
                <a:extLst>
                  <a:ext uri="{FF2B5EF4-FFF2-40B4-BE49-F238E27FC236}">
                    <a16:creationId xmlns:a16="http://schemas.microsoft.com/office/drawing/2014/main" id="{A22561A6-91B7-5613-CC1B-8BF3BD6C64F1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983553786"/>
                  </p:ext>
                </p:extLst>
              </p:nvPr>
            </p:nvGraphicFramePr>
            <p:xfrm>
              <a:off x="612814" y="1344825"/>
              <a:ext cx="4186438" cy="1364449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956770">
                      <a:extLst>
                        <a:ext uri="{9D8B030D-6E8A-4147-A177-3AD203B41FA5}">
                          <a16:colId xmlns:a16="http://schemas.microsoft.com/office/drawing/2014/main" val="4238621393"/>
                        </a:ext>
                      </a:extLst>
                    </a:gridCol>
                    <a:gridCol w="1229668">
                      <a:extLst>
                        <a:ext uri="{9D8B030D-6E8A-4147-A177-3AD203B41FA5}">
                          <a16:colId xmlns:a16="http://schemas.microsoft.com/office/drawing/2014/main" val="2029339879"/>
                        </a:ext>
                      </a:extLst>
                    </a:gridCol>
                  </a:tblGrid>
                  <a:tr h="225594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b="1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Parameter (Varying)</a:t>
                          </a:r>
                          <a:endParaRPr lang="en-DE" sz="1200" b="1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b="1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Range</a:t>
                          </a:r>
                          <a:endParaRPr lang="en-DE" sz="1200" b="1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018589997"/>
                      </a:ext>
                    </a:extLst>
                  </a:tr>
                  <a:tr h="236479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2"/>
                          <a:stretch>
                            <a:fillRect l="-206" t="-105128" r="-42387" b="-47179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4.2, 8.4</a:t>
                          </a:r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866479078"/>
                      </a:ext>
                    </a:extLst>
                  </a:tr>
                  <a:tr h="225594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Rotation direction</a:t>
                          </a:r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92</a:t>
                          </a:r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209481457"/>
                      </a:ext>
                    </a:extLst>
                  </a:tr>
                  <a:tr h="225594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2"/>
                          <a:stretch>
                            <a:fillRect l="-206" t="-307895" r="-42387" b="-28684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IU</a:t>
                          </a:r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369563425"/>
                      </a:ext>
                    </a:extLst>
                  </a:tr>
                  <a:tr h="225594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2"/>
                          <a:stretch>
                            <a:fillRect l="-206" t="-418919" r="-42387" b="-19459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469</a:t>
                          </a:r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650803359"/>
                      </a:ext>
                    </a:extLst>
                  </a:tr>
                  <a:tr h="225594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2"/>
                          <a:stretch>
                            <a:fillRect l="-206" t="-518919" r="-42387" b="-9459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-24, …., 14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529236367"/>
                      </a:ext>
                    </a:extLst>
                  </a:tr>
                </a:tbl>
              </a:graphicData>
            </a:graphic>
          </p:graphicFrame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6" name="Content Placeholder 2">
                <a:extLst>
                  <a:ext uri="{FF2B5EF4-FFF2-40B4-BE49-F238E27FC236}">
                    <a16:creationId xmlns:a16="http://schemas.microsoft.com/office/drawing/2014/main" id="{2D8B4533-EFCF-B987-1E09-BE27CF4D839D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317501" y="3229743"/>
                <a:ext cx="4906516" cy="19691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>
                <a:lvl1pPr marL="0" indent="0" algn="l" rtl="0" eaLnBrk="0" fontAlgn="base" hangingPunct="0">
                  <a:spcBef>
                    <a:spcPts val="0"/>
                  </a:spcBef>
                  <a:spcAft>
                    <a:spcPts val="0"/>
                  </a:spcAft>
                  <a:buFontTx/>
                  <a:buNone/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1pPr>
                <a:lvl2pPr marL="0" indent="0" algn="l" rtl="0" eaLnBrk="0" fontAlgn="base" hangingPunct="0">
                  <a:spcBef>
                    <a:spcPts val="2000"/>
                  </a:spcBef>
                  <a:spcAft>
                    <a:spcPct val="0"/>
                  </a:spcAft>
                  <a:buNone/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2pPr>
                <a:lvl3pPr marL="723900" indent="-3683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Verdana" pitchFamily="34" charset="0"/>
                  <a:buChar char="&gt;"/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3pPr>
                <a:lvl4pPr marL="0" indent="0" algn="l" rtl="0" eaLnBrk="0" fontAlgn="base" hangingPunct="0">
                  <a:spcBef>
                    <a:spcPts val="1600"/>
                  </a:spcBef>
                  <a:spcAft>
                    <a:spcPct val="0"/>
                  </a:spcAft>
                  <a:buFontTx/>
                  <a:buNone/>
                  <a:defRPr sz="11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4pPr>
                <a:lvl5pPr marL="723900" indent="-3683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Verdana" pitchFamily="34" charset="0"/>
                  <a:buChar char="&gt;"/>
                  <a:defRPr sz="11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r>
                  <a:rPr lang="en-US" sz="1200" dirty="0"/>
                  <a:t>A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DE" sz="1200" i="1" smtClean="0">
                            <a:effectLst/>
                            <a:latin typeface="Cambria Math" panose="02040503050406030204" pitchFamily="18" charset="0"/>
                            <a:ea typeface="Arial" panose="020B0604020202020204" pitchFamily="34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GB" sz="1200" i="1">
                            <a:effectLst/>
                            <a:latin typeface="Cambria Math" panose="02040503050406030204" pitchFamily="18" charset="0"/>
                            <a:ea typeface="Arial" panose="020B0604020202020204" pitchFamily="34" charset="0"/>
                            <a:cs typeface="Arial" panose="020B0604020202020204" pitchFamily="34" charset="0"/>
                          </a:rPr>
                          <m:t>𝛼</m:t>
                        </m:r>
                      </m:e>
                      <m:sub>
                        <m:r>
                          <a:rPr lang="en-GB" sz="1200" i="1">
                            <a:effectLst/>
                            <a:latin typeface="Cambria Math" panose="02040503050406030204" pitchFamily="18" charset="0"/>
                            <a:ea typeface="Arial" panose="020B0604020202020204" pitchFamily="34" charset="0"/>
                            <a:cs typeface="Arial" panose="020B0604020202020204" pitchFamily="34" charset="0"/>
                          </a:rPr>
                          <m:t>𝑃</m:t>
                        </m:r>
                        <m:r>
                          <a:rPr lang="en-GB" sz="1200" i="1">
                            <a:effectLst/>
                            <a:latin typeface="Cambria Math" panose="02040503050406030204" pitchFamily="18" charset="0"/>
                            <a:ea typeface="Arial" panose="020B0604020202020204" pitchFamily="34" charset="0"/>
                            <a:cs typeface="Arial" panose="020B0604020202020204" pitchFamily="34" charset="0"/>
                          </a:rPr>
                          <m:t>→</m:t>
                        </m:r>
                        <m:r>
                          <a:rPr lang="en-GB" sz="1200" i="1">
                            <a:effectLst/>
                            <a:latin typeface="Cambria Math" panose="02040503050406030204" pitchFamily="18" charset="0"/>
                            <a:ea typeface="Arial" panose="020B0604020202020204" pitchFamily="34" charset="0"/>
                            <a:cs typeface="Arial" panose="020B0604020202020204" pitchFamily="34" charset="0"/>
                          </a:rPr>
                          <m:t>𝑊</m:t>
                        </m:r>
                      </m:sub>
                    </m:sSub>
                  </m:oMath>
                </a14:m>
                <a:r>
                  <a:rPr lang="en-US" sz="1200" dirty="0"/>
                  <a:t> increased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2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200" i="1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en-US" sz="1200" i="1">
                            <a:latin typeface="Cambria Math" panose="02040503050406030204" pitchFamily="18" charset="0"/>
                          </a:rPr>
                          <m:t>𝐿</m:t>
                        </m:r>
                      </m:sub>
                    </m:sSub>
                  </m:oMath>
                </a14:m>
                <a:r>
                  <a:rPr lang="en-US" sz="1200" dirty="0"/>
                  <a:t> decreased, whil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2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200" i="1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sSub>
                          <m:sSubPr>
                            <m:ctrlPr>
                              <a:rPr lang="en-US" sz="12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200" i="1">
                                <a:latin typeface="Cambria Math" panose="02040503050406030204" pitchFamily="18" charset="0"/>
                              </a:rPr>
                              <m:t>𝐷</m:t>
                            </m:r>
                          </m:e>
                          <m:sub>
                            <m:r>
                              <a:rPr lang="en-US" sz="1200" i="1">
                                <a:latin typeface="Cambria Math" panose="02040503050406030204" pitchFamily="18" charset="0"/>
                              </a:rPr>
                              <m:t>𝑖𝑛𝑣</m:t>
                            </m:r>
                          </m:sub>
                        </m:sSub>
                      </m:sub>
                    </m:sSub>
                  </m:oMath>
                </a14:m>
                <a:r>
                  <a:rPr lang="en-US" sz="1200" dirty="0"/>
                  <a:t> increased.</a:t>
                </a:r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r>
                  <a:rPr lang="en-US" sz="1200" dirty="0"/>
                  <a:t>Lower propeller inclinations are preferable for better aerodynamic performance.</a:t>
                </a:r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endParaRPr lang="en-DE" sz="1500" dirty="0"/>
              </a:p>
            </p:txBody>
          </p:sp>
        </mc:Choice>
        <mc:Fallback>
          <p:sp>
            <p:nvSpPr>
              <p:cNvPr id="16" name="Content Placeholder 2">
                <a:extLst>
                  <a:ext uri="{FF2B5EF4-FFF2-40B4-BE49-F238E27FC236}">
                    <a16:creationId xmlns:a16="http://schemas.microsoft.com/office/drawing/2014/main" id="{2D8B4533-EFCF-B987-1E09-BE27CF4D839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17501" y="3229743"/>
                <a:ext cx="4906516" cy="1969121"/>
              </a:xfrm>
              <a:prstGeom prst="rect">
                <a:avLst/>
              </a:prstGeom>
              <a:blipFill>
                <a:blip r:embed="rId3"/>
                <a:stretch>
                  <a:fillRect l="-1739" t="-929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" name="Picture 2">
            <a:extLst>
              <a:ext uri="{FF2B5EF4-FFF2-40B4-BE49-F238E27FC236}">
                <a16:creationId xmlns:a16="http://schemas.microsoft.com/office/drawing/2014/main" id="{E97EB87E-CC4F-1CD0-4393-5A593533965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3553"/>
          <a:stretch/>
        </p:blipFill>
        <p:spPr bwMode="auto">
          <a:xfrm>
            <a:off x="5360750" y="1014500"/>
            <a:ext cx="4038535" cy="210167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E93EAED-C3CC-542F-8322-CEA9EAA194A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841"/>
          <a:stretch/>
        </p:blipFill>
        <p:spPr bwMode="auto">
          <a:xfrm>
            <a:off x="5337525" y="3366145"/>
            <a:ext cx="4248471" cy="180921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24DC90B4-795A-1231-86EC-733F7BCD0505}"/>
                  </a:ext>
                </a:extLst>
              </p:cNvPr>
              <p:cNvSpPr txBox="1"/>
              <p:nvPr/>
            </p:nvSpPr>
            <p:spPr>
              <a:xfrm>
                <a:off x="6479917" y="3108213"/>
                <a:ext cx="18002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28594" indent="-228594" algn="ctr">
                  <a:buFont typeface="+mj-lt"/>
                  <a:buAutoNum type="alphaLcParenR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GB" sz="8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800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𝜶</m:t>
                        </m:r>
                      </m:e>
                      <m:sub>
                        <m:r>
                          <a:rPr lang="en-US" sz="800" b="1" i="1" smtClean="0">
                            <a:latin typeface="Cambria Math" panose="02040503050406030204" pitchFamily="18" charset="0"/>
                          </a:rPr>
                          <m:t>𝑾</m:t>
                        </m:r>
                      </m:sub>
                    </m:sSub>
                  </m:oMath>
                </a14:m>
                <a:r>
                  <a:rPr lang="en-GB" sz="800" b="1" dirty="0">
                    <a:latin typeface="+mn-lt"/>
                  </a:rPr>
                  <a:t> = 4.2°</a:t>
                </a:r>
              </a:p>
            </p:txBody>
          </p:sp>
        </mc:Choice>
        <mc:Fallback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24DC90B4-795A-1231-86EC-733F7BCD050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79917" y="3108213"/>
                <a:ext cx="1800200" cy="215444"/>
              </a:xfrm>
              <a:prstGeom prst="rect">
                <a:avLst/>
              </a:prstGeom>
              <a:blipFill>
                <a:blip r:embed="rId6"/>
                <a:stretch>
                  <a:fillRect b="-8571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513B5759-4010-FBCA-45F3-B31AC1E9218B}"/>
                  </a:ext>
                </a:extLst>
              </p:cNvPr>
              <p:cNvSpPr txBox="1"/>
              <p:nvPr/>
            </p:nvSpPr>
            <p:spPr>
              <a:xfrm>
                <a:off x="6561660" y="5198864"/>
                <a:ext cx="18002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28600" indent="-228600" algn="ctr">
                  <a:buFont typeface="+mj-lt"/>
                  <a:buAutoNum type="alphaLcParenR" startAt="2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GB" sz="8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800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𝜶</m:t>
                        </m:r>
                      </m:e>
                      <m:sub>
                        <m:r>
                          <a:rPr lang="en-US" sz="800" b="1" i="1" smtClean="0">
                            <a:latin typeface="Cambria Math" panose="02040503050406030204" pitchFamily="18" charset="0"/>
                          </a:rPr>
                          <m:t>𝑾</m:t>
                        </m:r>
                      </m:sub>
                    </m:sSub>
                  </m:oMath>
                </a14:m>
                <a:r>
                  <a:rPr lang="en-GB" sz="800" b="1" dirty="0">
                    <a:latin typeface="+mn-lt"/>
                  </a:rPr>
                  <a:t> = 8.4°</a:t>
                </a:r>
              </a:p>
            </p:txBody>
          </p:sp>
        </mc:Choice>
        <mc:Fallback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513B5759-4010-FBCA-45F3-B31AC1E9218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61660" y="5198864"/>
                <a:ext cx="1800200" cy="215444"/>
              </a:xfrm>
              <a:prstGeom prst="rect">
                <a:avLst/>
              </a:prstGeom>
              <a:blipFill>
                <a:blip r:embed="rId7"/>
                <a:stretch>
                  <a:fillRect b="-8571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197279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38ED40-9917-A294-BEA6-82CFEB6E35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erodynamic Investigation: Simple Motions</a:t>
            </a:r>
            <a:endParaRPr lang="en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6" name="Content Placeholder 5">
                <a:extLst>
                  <a:ext uri="{FF2B5EF4-FFF2-40B4-BE49-F238E27FC236}">
                    <a16:creationId xmlns:a16="http://schemas.microsoft.com/office/drawing/2014/main" id="{1D062EA0-CDCF-48DC-6C73-3A9678449E30}"/>
                  </a:ext>
                </a:extLst>
              </p:cNvPr>
              <p:cNvGraphicFramePr>
                <a:graphicFrameLocks noGrp="1"/>
              </p:cNvGraphicFramePr>
              <p:nvPr>
                <p:ph idx="1"/>
              </p:nvPr>
            </p:nvGraphicFramePr>
            <p:xfrm>
              <a:off x="406300" y="1372107"/>
              <a:ext cx="4186438" cy="132114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746276">
                      <a:extLst>
                        <a:ext uri="{9D8B030D-6E8A-4147-A177-3AD203B41FA5}">
                          <a16:colId xmlns:a16="http://schemas.microsoft.com/office/drawing/2014/main" val="3292926077"/>
                        </a:ext>
                      </a:extLst>
                    </a:gridCol>
                    <a:gridCol w="1440162">
                      <a:extLst>
                        <a:ext uri="{9D8B030D-6E8A-4147-A177-3AD203B41FA5}">
                          <a16:colId xmlns:a16="http://schemas.microsoft.com/office/drawing/2014/main" val="4200956874"/>
                        </a:ext>
                      </a:extLst>
                    </a:gridCol>
                  </a:tblGrid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Wing Parameter</a:t>
                          </a:r>
                          <a:endParaRPr lang="en-DE" sz="1200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Value</a:t>
                          </a:r>
                          <a:endParaRPr lang="en-DE" sz="1200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765532567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Arial" panose="020B0604020202020204" pitchFamily="34" charset="0"/>
                            </a:rPr>
                            <a:t>Airfoil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NACA 64</a:t>
                          </a:r>
                          <a:r>
                            <a:rPr lang="en-GB" sz="1200" baseline="-250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2</a:t>
                          </a: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-a015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422716494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Arial" panose="020B0604020202020204" pitchFamily="34" charset="0"/>
                            </a:rPr>
                            <a:t>Planform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Rectangular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4091580403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Wingspan (</a:t>
                          </a: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  <m:t>𝑊</m:t>
                                  </m:r>
                                </m:sub>
                              </m:sSub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, </m:t>
                              </m:r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𝑚</m:t>
                              </m:r>
                            </m:oMath>
                          </a14:m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1.28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386646884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Wing chord (</a:t>
                          </a: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  <m:t>𝑐</m:t>
                                  </m:r>
                                </m:e>
                                <m:sub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  <m:t>𝑊</m:t>
                                  </m:r>
                                </m:sub>
                              </m:sSub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Times New Roman" panose="02020603050405020304" pitchFamily="18" charset="0"/>
                                </a:rPr>
                                <m:t>, </m:t>
                              </m:r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Times New Roman" panose="02020603050405020304" pitchFamily="18" charset="0"/>
                                </a:rPr>
                                <m:t>𝑚</m:t>
                              </m:r>
                            </m:oMath>
                          </a14:m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24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580983902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6" name="Content Placeholder 5">
                <a:extLst>
                  <a:ext uri="{FF2B5EF4-FFF2-40B4-BE49-F238E27FC236}">
                    <a16:creationId xmlns:a16="http://schemas.microsoft.com/office/drawing/2014/main" id="{1D062EA0-CDCF-48DC-6C73-3A9678449E30}"/>
                  </a:ext>
                </a:extLst>
              </p:cNvPr>
              <p:cNvGraphicFramePr>
                <a:graphicFrameLocks noGrp="1"/>
              </p:cNvGraphicFramePr>
              <p:nvPr>
                <p:ph idx="1"/>
                <p:extLst>
                  <p:ext uri="{D42A27DB-BD31-4B8C-83A1-F6EECF244321}">
                    <p14:modId xmlns:p14="http://schemas.microsoft.com/office/powerpoint/2010/main" val="1135969290"/>
                  </p:ext>
                </p:extLst>
              </p:nvPr>
            </p:nvGraphicFramePr>
            <p:xfrm>
              <a:off x="406300" y="1372107"/>
              <a:ext cx="4186438" cy="132114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746276">
                      <a:extLst>
                        <a:ext uri="{9D8B030D-6E8A-4147-A177-3AD203B41FA5}">
                          <a16:colId xmlns:a16="http://schemas.microsoft.com/office/drawing/2014/main" val="3292926077"/>
                        </a:ext>
                      </a:extLst>
                    </a:gridCol>
                    <a:gridCol w="1440162">
                      <a:extLst>
                        <a:ext uri="{9D8B030D-6E8A-4147-A177-3AD203B41FA5}">
                          <a16:colId xmlns:a16="http://schemas.microsoft.com/office/drawing/2014/main" val="4200956874"/>
                        </a:ext>
                      </a:extLst>
                    </a:gridCol>
                  </a:tblGrid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Wing Parameter</a:t>
                          </a:r>
                          <a:endParaRPr lang="en-DE" sz="1200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Value</a:t>
                          </a:r>
                          <a:endParaRPr lang="en-DE" sz="1200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765532567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Arial" panose="020B0604020202020204" pitchFamily="34" charset="0"/>
                            </a:rPr>
                            <a:t>Airfoil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NACA 64</a:t>
                          </a:r>
                          <a:r>
                            <a:rPr lang="en-GB" sz="1200" baseline="-250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2</a:t>
                          </a: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-a015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422716494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Arial" panose="020B0604020202020204" pitchFamily="34" charset="0"/>
                            </a:rPr>
                            <a:t>Planform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Rectangular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4091580403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2"/>
                          <a:stretch>
                            <a:fillRect l="-222" t="-306818" r="-53437" b="-10909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1.28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386646884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2"/>
                          <a:stretch>
                            <a:fillRect l="-222" t="-416279" r="-53437" b="-1162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24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580983902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94EA77-4737-FD1E-A05D-4B2E2F5578A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Model Description</a:t>
            </a:r>
            <a:endParaRPr lang="en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3" name="Table 2">
                <a:extLst>
                  <a:ext uri="{FF2B5EF4-FFF2-40B4-BE49-F238E27FC236}">
                    <a16:creationId xmlns:a16="http://schemas.microsoft.com/office/drawing/2014/main" id="{59C44DD7-90E7-032D-1782-73777BDBC76E}"/>
                  </a:ext>
                </a:extLst>
              </p:cNvPr>
              <p:cNvGraphicFramePr>
                <a:graphicFrameLocks noGrp="1"/>
              </p:cNvGraphicFramePr>
              <p:nvPr/>
            </p:nvGraphicFramePr>
            <p:xfrm>
              <a:off x="4917016" y="3722556"/>
              <a:ext cx="4360484" cy="1585368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3000066">
                      <a:extLst>
                        <a:ext uri="{9D8B030D-6E8A-4147-A177-3AD203B41FA5}">
                          <a16:colId xmlns:a16="http://schemas.microsoft.com/office/drawing/2014/main" val="2486752050"/>
                        </a:ext>
                      </a:extLst>
                    </a:gridCol>
                    <a:gridCol w="1360418">
                      <a:extLst>
                        <a:ext uri="{9D8B030D-6E8A-4147-A177-3AD203B41FA5}">
                          <a16:colId xmlns:a16="http://schemas.microsoft.com/office/drawing/2014/main" val="131658472"/>
                        </a:ext>
                      </a:extLst>
                    </a:gridCol>
                  </a:tblGrid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Simulation Parameter (Fixed)</a:t>
                          </a:r>
                          <a:endParaRPr lang="en-DE" sz="1200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Value</a:t>
                          </a:r>
                          <a:endParaRPr lang="en-DE" sz="1200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616760099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Freestream velocity (</a:t>
                          </a: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US" sz="1200" i="1" smtClean="0">
                                      <a:effectLst/>
                                      <a:latin typeface="Cambria Math" panose="02040503050406030204" pitchFamily="18" charset="0"/>
                                      <a:cs typeface="Times New Roman" panose="020206030504050203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200" b="0" i="1" smtClean="0">
                                      <a:effectLst/>
                                      <a:latin typeface="Cambria Math" panose="02040503050406030204" pitchFamily="18" charset="0"/>
                                      <a:cs typeface="Times New Roman" panose="02020603050405020304" pitchFamily="18" charset="0"/>
                                    </a:rPr>
                                    <m:t>𝑢</m:t>
                                  </m:r>
                                </m:e>
                                <m:sub>
                                  <m:r>
                                    <a:rPr lang="en-US" sz="1200" i="1" smtClean="0">
                                      <a:effectLst/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Times New Roman" panose="02020603050405020304" pitchFamily="18" charset="0"/>
                                    </a:rPr>
                                    <m:t>∞</m:t>
                                  </m:r>
                                </m:sub>
                              </m:sSub>
                              <m:r>
                                <a:rPr lang="en-US" sz="1200" b="0" i="1" smtClean="0">
                                  <a:effectLst/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, </m:t>
                              </m:r>
                              <m:r>
                                <a:rPr lang="en-US" sz="1200" b="0" i="1" smtClean="0">
                                  <a:effectLst/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𝑚</m:t>
                              </m:r>
                              <m:sSup>
                                <m:sSupPr>
                                  <m:ctrlPr>
                                    <a:rPr lang="en-US" sz="1200" b="0" i="1" smtClean="0">
                                      <a:effectLst/>
                                      <a:latin typeface="Cambria Math" panose="02040503050406030204" pitchFamily="18" charset="0"/>
                                      <a:cs typeface="Times New Roman" panose="020206030504050203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200" b="0" i="1" smtClean="0">
                                      <a:effectLst/>
                                      <a:latin typeface="Cambria Math" panose="02040503050406030204" pitchFamily="18" charset="0"/>
                                      <a:cs typeface="Times New Roman" panose="02020603050405020304" pitchFamily="18" charset="0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en-US" sz="1200" b="0" i="1" smtClean="0">
                                      <a:effectLst/>
                                      <a:latin typeface="Cambria Math" panose="02040503050406030204" pitchFamily="18" charset="0"/>
                                      <a:cs typeface="Times New Roman" panose="02020603050405020304" pitchFamily="18" charset="0"/>
                                    </a:rPr>
                                    <m:t>−1</m:t>
                                  </m:r>
                                </m:sup>
                              </m:sSup>
                            </m:oMath>
                          </a14:m>
                          <a:r>
                            <a:rPr lang="en-US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50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688761073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Freestream</a:t>
                          </a:r>
                          <a:r>
                            <a:rPr lang="en-US" sz="1200" baseline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 density </a:t>
                          </a:r>
                          <a:r>
                            <a:rPr lang="en-US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(</a:t>
                          </a: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GB" sz="1200" i="1" smtClean="0">
                                      <a:effectLst/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𝜌</m:t>
                                  </m:r>
                                </m:e>
                                <m:sub>
                                  <m:r>
                                    <a:rPr lang="en-DE" sz="1200" i="1" smtClean="0">
                                      <a:effectLst/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∞</m:t>
                                  </m:r>
                                </m:sub>
                              </m:sSub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, </m:t>
                              </m:r>
                              <m:r>
                                <a:rPr lang="en-US" sz="1200" b="0" i="1" smtClean="0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𝑘𝑔</m:t>
                              </m:r>
                              <m:sSup>
                                <m:sSupPr>
                                  <m:ctrlPr>
                                    <a:rPr lang="en-US" sz="1200" b="0" i="1" smtClean="0">
                                      <a:effectLst/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200" b="0" i="1" smtClean="0">
                                      <a:effectLst/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𝑚</m:t>
                                  </m:r>
                                </m:e>
                                <m:sup>
                                  <m:r>
                                    <a:rPr lang="en-US" sz="1200" b="0" i="1" smtClean="0">
                                      <a:effectLst/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−3</m:t>
                                  </m:r>
                                </m:sup>
                              </m:sSup>
                            </m:oMath>
                          </a14:m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Arial" panose="020B0604020202020204" pitchFamily="34" charset="0"/>
                            </a:rPr>
                            <a:t>1.2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471326476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Normalised Y-position </a:t>
                          </a:r>
                          <a:r>
                            <a:rPr lang="en-US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(</a:t>
                          </a:r>
                          <a14:m>
                            <m:oMath xmlns:m="http://schemas.openxmlformats.org/officeDocument/2006/math">
                              <m:f>
                                <m:fPr>
                                  <m:type m:val="lin"/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</m:ctrlPr>
                                </m:fPr>
                                <m:num>
                                  <m:sSub>
                                    <m:sSubPr>
                                      <m:ctrlPr>
                                        <a:rPr lang="en-DE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Times New Roman" panose="020206030504050203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Times New Roman" panose="020206030504050203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Times New Roman" panose="02020603050405020304" pitchFamily="18" charset="0"/>
                                        </a:rPr>
                                        <m:t>𝑃</m:t>
                                      </m:r>
                                    </m:sub>
                                  </m:sSub>
                                </m:num>
                                <m:den>
                                  <m:f>
                                    <m:fPr>
                                      <m:type m:val="lin"/>
                                      <m:ctrlPr>
                                        <a:rPr lang="en-DE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Times New Roman" panose="02020603050405020304" pitchFamily="18" charset="0"/>
                                        </a:rPr>
                                      </m:ctrlPr>
                                    </m:fPr>
                                    <m:num>
                                      <m:sSub>
                                        <m:sSubPr>
                                          <m:ctrlPr>
                                            <a:rPr lang="en-DE" sz="1200" i="1">
                                              <a:effectLst/>
                                              <a:latin typeface="Cambria Math" panose="02040503050406030204" pitchFamily="18" charset="0"/>
                                              <a:ea typeface="Arial" panose="020B0604020202020204" pitchFamily="34" charset="0"/>
                                              <a:cs typeface="Times New Roman" panose="020206030504050203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GB" sz="1200" i="1">
                                              <a:effectLst/>
                                              <a:latin typeface="Cambria Math" panose="02040503050406030204" pitchFamily="18" charset="0"/>
                                              <a:ea typeface="Arial" panose="020B0604020202020204" pitchFamily="34" charset="0"/>
                                              <a:cs typeface="Times New Roman" panose="02020603050405020304" pitchFamily="18" charset="0"/>
                                            </a:rPr>
                                            <m:t>𝑏</m:t>
                                          </m:r>
                                        </m:e>
                                        <m:sub>
                                          <m:r>
                                            <a:rPr lang="en-GB" sz="1200" i="1">
                                              <a:effectLst/>
                                              <a:latin typeface="Cambria Math" panose="02040503050406030204" pitchFamily="18" charset="0"/>
                                              <a:ea typeface="Arial" panose="020B0604020202020204" pitchFamily="34" charset="0"/>
                                              <a:cs typeface="Times New Roman" panose="02020603050405020304" pitchFamily="18" charset="0"/>
                                            </a:rPr>
                                            <m:t>𝑊</m:t>
                                          </m:r>
                                        </m:sub>
                                      </m:sSub>
                                    </m:num>
                                    <m:den>
                                      <m:r>
                                        <a:rPr lang="en-US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Times New Roman" panose="02020603050405020304" pitchFamily="18" charset="0"/>
                                        </a:rPr>
                                        <m:t>2</m:t>
                                      </m:r>
                                    </m:den>
                                  </m:f>
                                </m:den>
                              </m:f>
                              <m:r>
                                <a:rPr lang="en-US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Times New Roman" panose="02020603050405020304" pitchFamily="18" charset="0"/>
                                </a:rPr>
                                <m:t>, −</m:t>
                              </m:r>
                            </m:oMath>
                          </a14:m>
                          <a:r>
                            <a:rPr lang="en-US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5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87577562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Normalised Z-position (</a:t>
                          </a:r>
                          <a14:m>
                            <m:oMath xmlns:m="http://schemas.openxmlformats.org/officeDocument/2006/math">
                              <m:f>
                                <m:fPr>
                                  <m:type m:val="lin"/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</m:ctrlPr>
                                </m:fPr>
                                <m:num>
                                  <m:sSub>
                                    <m:sSubPr>
                                      <m:ctrlPr>
                                        <a:rPr lang="en-DE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Times New Roman" panose="020206030504050203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Times New Roman" panose="02020603050405020304" pitchFamily="18" charset="0"/>
                                        </a:rPr>
                                        <m:t>𝑧</m:t>
                                      </m:r>
                                    </m:e>
                                    <m:sub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Times New Roman" panose="02020603050405020304" pitchFamily="18" charset="0"/>
                                        </a:rPr>
                                        <m:t>𝑃</m:t>
                                      </m:r>
                                    </m:sub>
                                  </m:sSub>
                                </m:num>
                                <m:den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  <m:t>𝑅</m:t>
                                  </m:r>
                                </m:den>
                              </m:f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Times New Roman" panose="02020603050405020304" pitchFamily="18" charset="0"/>
                                </a:rPr>
                                <m:t>, −</m:t>
                              </m:r>
                            </m:oMath>
                          </a14:m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0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243417516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Normalised X-position (</a:t>
                          </a:r>
                          <a14:m>
                            <m:oMath xmlns:m="http://schemas.openxmlformats.org/officeDocument/2006/math">
                              <m:f>
                                <m:fPr>
                                  <m:type m:val="lin"/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</m:ctrlPr>
                                </m:fPr>
                                <m:num>
                                  <m:sSub>
                                    <m:sSubPr>
                                      <m:ctrlPr>
                                        <a:rPr lang="en-DE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Times New Roman" panose="020206030504050203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Times New Roman" panose="02020603050405020304" pitchFamily="18" charset="0"/>
                                        </a:rPr>
                                        <m:t>𝑥</m:t>
                                      </m:r>
                                    </m:e>
                                    <m:sub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Times New Roman" panose="02020603050405020304" pitchFamily="18" charset="0"/>
                                        </a:rPr>
                                        <m:t>𝑃</m:t>
                                      </m:r>
                                    </m:sub>
                                  </m:sSub>
                                </m:num>
                                <m:den>
                                  <m:sSub>
                                    <m:sSubPr>
                                      <m:ctrlPr>
                                        <a:rPr lang="en-DE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Times New Roman" panose="020206030504050203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Times New Roman" panose="02020603050405020304" pitchFamily="18" charset="0"/>
                                        </a:rPr>
                                        <m:t>𝑐</m:t>
                                      </m:r>
                                    </m:e>
                                    <m:sub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Times New Roman" panose="02020603050405020304" pitchFamily="18" charset="0"/>
                                        </a:rPr>
                                        <m:t>𝑊</m:t>
                                      </m:r>
                                    </m:sub>
                                  </m:sSub>
                                </m:den>
                              </m:f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Times New Roman" panose="02020603050405020304" pitchFamily="18" charset="0"/>
                                </a:rPr>
                                <m:t>, −</m:t>
                              </m:r>
                            </m:oMath>
                          </a14:m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-0.841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963356673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3" name="Table 2">
                <a:extLst>
                  <a:ext uri="{FF2B5EF4-FFF2-40B4-BE49-F238E27FC236}">
                    <a16:creationId xmlns:a16="http://schemas.microsoft.com/office/drawing/2014/main" id="{59C44DD7-90E7-032D-1782-73777BDBC76E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937330237"/>
                  </p:ext>
                </p:extLst>
              </p:nvPr>
            </p:nvGraphicFramePr>
            <p:xfrm>
              <a:off x="4917016" y="3722556"/>
              <a:ext cx="4360484" cy="1585368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3000066">
                      <a:extLst>
                        <a:ext uri="{9D8B030D-6E8A-4147-A177-3AD203B41FA5}">
                          <a16:colId xmlns:a16="http://schemas.microsoft.com/office/drawing/2014/main" val="2486752050"/>
                        </a:ext>
                      </a:extLst>
                    </a:gridCol>
                    <a:gridCol w="1360418">
                      <a:extLst>
                        <a:ext uri="{9D8B030D-6E8A-4147-A177-3AD203B41FA5}">
                          <a16:colId xmlns:a16="http://schemas.microsoft.com/office/drawing/2014/main" val="131658472"/>
                        </a:ext>
                      </a:extLst>
                    </a:gridCol>
                  </a:tblGrid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Simulation Parameter (Fixed)</a:t>
                          </a:r>
                          <a:endParaRPr lang="en-DE" sz="1200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Value</a:t>
                          </a:r>
                          <a:endParaRPr lang="en-DE" sz="1200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616760099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3"/>
                          <a:stretch>
                            <a:fillRect l="-203" t="-111628" r="-46247" b="-55814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50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688761073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3"/>
                          <a:stretch>
                            <a:fillRect l="-203" t="-206818" r="-46247" b="-44545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Arial" panose="020B0604020202020204" pitchFamily="34" charset="0"/>
                            </a:rPr>
                            <a:t>1.2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471326476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3"/>
                          <a:stretch>
                            <a:fillRect l="-203" t="-313953" r="-46247" b="-35581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5</a:t>
                          </a:r>
                          <a:endParaRPr lang="en-DE" sz="120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87577562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3"/>
                          <a:stretch>
                            <a:fillRect l="-203" t="-404545" r="-46247" b="-24772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0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243417516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3"/>
                          <a:stretch>
                            <a:fillRect l="-203" t="-516279" r="-46247" b="-15348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-0.841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963356673"/>
                      </a:ext>
                    </a:extLst>
                  </a:tr>
                </a:tbl>
              </a:graphicData>
            </a:graphic>
          </p:graphicFrame>
        </mc:Fallback>
      </mc:AlternateContent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5" name="Content Placeholder 5">
                <a:extLst>
                  <a:ext uri="{FF2B5EF4-FFF2-40B4-BE49-F238E27FC236}">
                    <a16:creationId xmlns:a16="http://schemas.microsoft.com/office/drawing/2014/main" id="{BEC95736-68F9-86F5-81A5-CC83ADB16DE8}"/>
                  </a:ext>
                </a:extLst>
              </p:cNvPr>
              <p:cNvGraphicFramePr>
                <a:graphicFrameLocks/>
              </p:cNvGraphicFramePr>
              <p:nvPr/>
            </p:nvGraphicFramePr>
            <p:xfrm>
              <a:off x="406300" y="3073524"/>
              <a:ext cx="4186438" cy="1849596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742352">
                      <a:extLst>
                        <a:ext uri="{9D8B030D-6E8A-4147-A177-3AD203B41FA5}">
                          <a16:colId xmlns:a16="http://schemas.microsoft.com/office/drawing/2014/main" val="3292926077"/>
                        </a:ext>
                      </a:extLst>
                    </a:gridCol>
                    <a:gridCol w="1444086">
                      <a:extLst>
                        <a:ext uri="{9D8B030D-6E8A-4147-A177-3AD203B41FA5}">
                          <a16:colId xmlns:a16="http://schemas.microsoft.com/office/drawing/2014/main" val="4200956874"/>
                        </a:ext>
                      </a:extLst>
                    </a:gridCol>
                  </a:tblGrid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Propeller Parameter</a:t>
                          </a:r>
                          <a:endParaRPr lang="en-DE" sz="1200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Value</a:t>
                          </a:r>
                          <a:endParaRPr lang="en-DE" sz="1200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765532567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Airfoil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NACA 0012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422716494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Number of blades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4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4091580403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Propeller radius (</a:t>
                          </a:r>
                          <a14:m>
                            <m:oMath xmlns:m="http://schemas.openxmlformats.org/officeDocument/2006/math"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Times New Roman" panose="02020603050405020304" pitchFamily="18" charset="0"/>
                                </a:rPr>
                                <m:t>𝑅</m:t>
                              </m:r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, </m:t>
                              </m:r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𝑚</m:t>
                              </m:r>
                            </m:oMath>
                          </a14:m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118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386646884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Propeller chord (</a:t>
                          </a: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  <m:t>𝑐</m:t>
                                  </m:r>
                                </m:e>
                                <m:sub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  <m:t>𝑃</m:t>
                                  </m:r>
                                </m:sub>
                              </m:sSub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Times New Roman" panose="02020603050405020304" pitchFamily="18" charset="0"/>
                                </a:rPr>
                                <m:t>, </m:t>
                              </m:r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Times New Roman" panose="02020603050405020304" pitchFamily="18" charset="0"/>
                                </a:rPr>
                                <m:t>𝑚</m:t>
                              </m:r>
                            </m:oMath>
                          </a14:m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053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580983902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Propeller twist (</a:t>
                          </a: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  <m:t>𝜃</m:t>
                                  </m:r>
                                </m:e>
                                <m:sub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  <m:t>𝑃</m:t>
                                  </m:r>
                                </m:sub>
                              </m:sSub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Times New Roman" panose="02020603050405020304" pitchFamily="18" charset="0"/>
                                </a:rPr>
                                <m:t>, </m:t>
                              </m:r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Times New Roman" panose="02020603050405020304" pitchFamily="18" charset="0"/>
                                </a:rPr>
                                <m:t>𝑑𝑒𝑔</m:t>
                              </m:r>
                            </m:oMath>
                          </a14:m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48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357907282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Propeller blade pitch angle (</a:t>
                          </a: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  <m:t>𝛽</m:t>
                                  </m:r>
                                </m:e>
                                <m:sub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  <m:t>0.75</m:t>
                                  </m:r>
                                </m:sub>
                              </m:sSub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Times New Roman" panose="02020603050405020304" pitchFamily="18" charset="0"/>
                                </a:rPr>
                                <m:t>, </m:t>
                              </m:r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Times New Roman" panose="02020603050405020304" pitchFamily="18" charset="0"/>
                                </a:rPr>
                                <m:t>𝑑𝑒𝑔</m:t>
                              </m:r>
                            </m:oMath>
                          </a14:m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25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4262275274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5" name="Content Placeholder 5">
                <a:extLst>
                  <a:ext uri="{FF2B5EF4-FFF2-40B4-BE49-F238E27FC236}">
                    <a16:creationId xmlns:a16="http://schemas.microsoft.com/office/drawing/2014/main" id="{BEC95736-68F9-86F5-81A5-CC83ADB16DE8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4251085528"/>
                  </p:ext>
                </p:extLst>
              </p:nvPr>
            </p:nvGraphicFramePr>
            <p:xfrm>
              <a:off x="406300" y="3073524"/>
              <a:ext cx="4186438" cy="1849596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742352">
                      <a:extLst>
                        <a:ext uri="{9D8B030D-6E8A-4147-A177-3AD203B41FA5}">
                          <a16:colId xmlns:a16="http://schemas.microsoft.com/office/drawing/2014/main" val="3292926077"/>
                        </a:ext>
                      </a:extLst>
                    </a:gridCol>
                    <a:gridCol w="1444086">
                      <a:extLst>
                        <a:ext uri="{9D8B030D-6E8A-4147-A177-3AD203B41FA5}">
                          <a16:colId xmlns:a16="http://schemas.microsoft.com/office/drawing/2014/main" val="4200956874"/>
                        </a:ext>
                      </a:extLst>
                    </a:gridCol>
                  </a:tblGrid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Propeller Parameter</a:t>
                          </a:r>
                          <a:endParaRPr lang="en-DE" sz="1200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Value</a:t>
                          </a:r>
                          <a:endParaRPr lang="en-DE" sz="1200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765532567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Airfoil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NACA 0012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422716494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Number of blades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4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4091580403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4"/>
                          <a:stretch>
                            <a:fillRect l="-222" t="-306818" r="-53437" b="-30681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118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386646884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4"/>
                          <a:stretch>
                            <a:fillRect l="-222" t="-416279" r="-53437" b="-213953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053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580983902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4"/>
                          <a:stretch>
                            <a:fillRect l="-222" t="-504545" r="-53437" b="-10909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48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357907282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4"/>
                          <a:stretch>
                            <a:fillRect l="-222" t="-618605" r="-53437" b="-1162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25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4262275274"/>
                      </a:ext>
                    </a:extLst>
                  </a:tr>
                </a:tbl>
              </a:graphicData>
            </a:graphic>
          </p:graphicFrame>
        </mc:Fallback>
      </mc:AlternateContent>
      <p:pic>
        <p:nvPicPr>
          <p:cNvPr id="7" name="Picture 6">
            <a:extLst>
              <a:ext uri="{FF2B5EF4-FFF2-40B4-BE49-F238E27FC236}">
                <a16:creationId xmlns:a16="http://schemas.microsoft.com/office/drawing/2014/main" id="{CB07E391-A002-6312-00F0-22C80924620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</a:extLst>
          </a:blip>
          <a:srcRect l="2876" t="2097" r="2085" b="-1629"/>
          <a:stretch/>
        </p:blipFill>
        <p:spPr bwMode="auto">
          <a:xfrm>
            <a:off x="4791968" y="1084296"/>
            <a:ext cx="4886988" cy="256529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1651965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38ED40-9917-A294-BEA6-82CFEB6E35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erodynamic Investigation: Simple Motions</a:t>
            </a:r>
            <a:endParaRPr lang="en-D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94EA77-4737-FD1E-A05D-4B2E2F5578A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Model Description</a:t>
            </a:r>
            <a:endParaRPr lang="en-DE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6" name="Content Placeholder 2">
                <a:extLst>
                  <a:ext uri="{FF2B5EF4-FFF2-40B4-BE49-F238E27FC236}">
                    <a16:creationId xmlns:a16="http://schemas.microsoft.com/office/drawing/2014/main" id="{2D8B4533-EFCF-B987-1E09-BE27CF4D839D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317499" y="1168147"/>
                <a:ext cx="5091263" cy="41764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>
                <a:lvl1pPr marL="0" indent="0" algn="l" rtl="0" eaLnBrk="0" fontAlgn="base" hangingPunct="0">
                  <a:spcBef>
                    <a:spcPts val="0"/>
                  </a:spcBef>
                  <a:spcAft>
                    <a:spcPts val="0"/>
                  </a:spcAft>
                  <a:buFontTx/>
                  <a:buNone/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1pPr>
                <a:lvl2pPr marL="0" indent="0" algn="l" rtl="0" eaLnBrk="0" fontAlgn="base" hangingPunct="0">
                  <a:spcBef>
                    <a:spcPts val="2000"/>
                  </a:spcBef>
                  <a:spcAft>
                    <a:spcPct val="0"/>
                  </a:spcAft>
                  <a:buNone/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2pPr>
                <a:lvl3pPr marL="723900" indent="-3683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Verdana" pitchFamily="34" charset="0"/>
                  <a:buChar char="&gt;"/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3pPr>
                <a:lvl4pPr marL="0" indent="0" algn="l" rtl="0" eaLnBrk="0" fontAlgn="base" hangingPunct="0">
                  <a:spcBef>
                    <a:spcPts val="1600"/>
                  </a:spcBef>
                  <a:spcAft>
                    <a:spcPct val="0"/>
                  </a:spcAft>
                  <a:buFontTx/>
                  <a:buNone/>
                  <a:defRPr sz="11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4pPr>
                <a:lvl5pPr marL="723900" indent="-3683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Verdana" pitchFamily="34" charset="0"/>
                  <a:buChar char="&gt;"/>
                  <a:defRPr sz="11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DE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𝐿</m:t>
                        </m:r>
                      </m:sub>
                    </m:sSub>
                  </m:oMath>
                </a14:m>
                <a:r>
                  <a:rPr lang="en-US" dirty="0"/>
                  <a:t> vs </a:t>
                </a:r>
                <a14:m>
                  <m:oMath xmlns:m="http://schemas.openxmlformats.org/officeDocument/2006/math"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𝛼</m:t>
                    </m:r>
                  </m:oMath>
                </a14:m>
                <a:r>
                  <a:rPr lang="en-US" dirty="0"/>
                  <a:t> plot is linear in the chosen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𝛼</m:t>
                    </m:r>
                  </m:oMath>
                </a14:m>
                <a:r>
                  <a:rPr lang="en-US" dirty="0"/>
                  <a:t> range.</a:t>
                </a:r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DE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𝐿</m:t>
                        </m:r>
                      </m:sub>
                    </m:sSub>
                  </m:oMath>
                </a14:m>
                <a:r>
                  <a:rPr lang="en-US" dirty="0"/>
                  <a:t> vs </a:t>
                </a:r>
                <a14:m>
                  <m:oMath xmlns:m="http://schemas.openxmlformats.org/officeDocument/2006/math"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𝛼</m:t>
                    </m:r>
                  </m:oMath>
                </a14:m>
                <a:r>
                  <a:rPr lang="en-US" dirty="0"/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sSub>
                          <m:sSubPr>
                            <m:ctrlPr>
                              <a:rPr lang="en-US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𝐷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𝑖𝑛𝑣</m:t>
                            </m:r>
                          </m:sub>
                        </m:sSub>
                      </m:sub>
                    </m:sSub>
                  </m:oMath>
                </a14:m>
                <a:r>
                  <a:rPr lang="en-US" dirty="0"/>
                  <a:t> vs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𝛼</m:t>
                    </m:r>
                  </m:oMath>
                </a14:m>
                <a:r>
                  <a:rPr lang="en-US" dirty="0"/>
                  <a:t> plots are symmetric (symmetric airfoil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𝐷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𝑖𝑛𝑣</m:t>
                            </m:r>
                          </m:sub>
                        </m:sSub>
                      </m:sub>
                    </m:sSub>
                  </m:oMath>
                </a14:m>
                <a:r>
                  <a:rPr lang="en-US" dirty="0"/>
                  <a:t> comprises of just induced drag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𝐷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sub>
                    </m:sSub>
                  </m:oMath>
                </a14:m>
                <a:r>
                  <a:rPr lang="en-US" dirty="0"/>
                  <a:t>)).</a:t>
                </a:r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endParaRPr lang="en-US" dirty="0"/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endParaRPr lang="en-US" dirty="0"/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endParaRPr lang="en-US" dirty="0"/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r>
                  <a:rPr lang="en-US" dirty="0"/>
                  <a:t>Propeller performance curve shows a decrease 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DE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𝑇</m:t>
                        </m:r>
                      </m:sub>
                    </m:sSub>
                  </m:oMath>
                </a14:m>
                <a:r>
                  <a:rPr lang="en-US" dirty="0"/>
                  <a:t> for an increase in </a:t>
                </a:r>
                <a14:m>
                  <m:oMath xmlns:m="http://schemas.openxmlformats.org/officeDocument/2006/math">
                    <m:r>
                      <a:rPr lang="en-US" i="1" dirty="0" smtClean="0">
                        <a:latin typeface="Cambria Math" panose="02040503050406030204" pitchFamily="18" charset="0"/>
                      </a:rPr>
                      <m:t>𝐽</m:t>
                    </m:r>
                  </m:oMath>
                </a14:m>
                <a:r>
                  <a:rPr lang="en-US" dirty="0"/>
                  <a:t>.</a:t>
                </a:r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r>
                  <a:rPr lang="en-US" dirty="0"/>
                  <a:t>Windmilling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DE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𝑇</m:t>
                        </m:r>
                      </m:sub>
                    </m:sSub>
                  </m:oMath>
                </a14:m>
                <a:r>
                  <a:rPr lang="en-US" dirty="0"/>
                  <a:t> is around 1.12 (for the chosen propeller at the given simulation settings).</a:t>
                </a:r>
                <a:endParaRPr lang="en-DE" dirty="0"/>
              </a:p>
            </p:txBody>
          </p:sp>
        </mc:Choice>
        <mc:Fallback>
          <p:sp>
            <p:nvSpPr>
              <p:cNvPr id="16" name="Content Placeholder 2">
                <a:extLst>
                  <a:ext uri="{FF2B5EF4-FFF2-40B4-BE49-F238E27FC236}">
                    <a16:creationId xmlns:a16="http://schemas.microsoft.com/office/drawing/2014/main" id="{2D8B4533-EFCF-B987-1E09-BE27CF4D839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17499" y="1168147"/>
                <a:ext cx="5091263" cy="4176464"/>
              </a:xfrm>
              <a:prstGeom prst="rect">
                <a:avLst/>
              </a:prstGeom>
              <a:blipFill>
                <a:blip r:embed="rId2"/>
                <a:stretch>
                  <a:fillRect l="-2275" t="-876" r="-3473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3379DEE7-FB57-C60C-A33B-27D15882E962}"/>
                  </a:ext>
                </a:extLst>
              </p:cNvPr>
              <p:cNvSpPr txBox="1"/>
              <p:nvPr/>
            </p:nvSpPr>
            <p:spPr>
              <a:xfrm>
                <a:off x="5271749" y="5236889"/>
                <a:ext cx="414276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28600" indent="-228600" algn="ctr">
                  <a:buFont typeface="+mj-lt"/>
                  <a:buAutoNum type="alphaLcParenR" startAt="2"/>
                </a:pPr>
                <a:r>
                  <a:rPr lang="en-US" sz="800" b="1" dirty="0">
                    <a:latin typeface="+mn-lt"/>
                  </a:rPr>
                  <a:t> </a:t>
                </a:r>
                <a:r>
                  <a:rPr lang="en-US" sz="800" b="1" i="1" dirty="0">
                    <a:latin typeface="+mn-lt"/>
                  </a:rPr>
                  <a:t>Propeller 1</a:t>
                </a:r>
                <a:r>
                  <a:rPr lang="en-US" sz="800" b="1" dirty="0">
                    <a:latin typeface="+mn-lt"/>
                  </a:rPr>
                  <a:t> -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8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800" b="1" i="1" smtClean="0">
                            <a:latin typeface="Cambria Math" panose="02040503050406030204" pitchFamily="18" charset="0"/>
                          </a:rPr>
                          <m:t>𝑪</m:t>
                        </m:r>
                      </m:e>
                      <m:sub>
                        <m:r>
                          <a:rPr lang="en-US" sz="800" b="1" i="1" smtClean="0">
                            <a:latin typeface="Cambria Math" panose="02040503050406030204" pitchFamily="18" charset="0"/>
                          </a:rPr>
                          <m:t>𝑻</m:t>
                        </m:r>
                      </m:sub>
                    </m:sSub>
                  </m:oMath>
                </a14:m>
                <a:r>
                  <a:rPr lang="en-GB" sz="800" b="1" dirty="0">
                    <a:latin typeface="+mn-lt"/>
                  </a:rPr>
                  <a:t> vs </a:t>
                </a:r>
                <a14:m>
                  <m:oMath xmlns:m="http://schemas.openxmlformats.org/officeDocument/2006/math">
                    <m:r>
                      <a:rPr lang="en-GB" sz="800" b="1" i="1" dirty="0" smtClean="0">
                        <a:latin typeface="Cambria Math" panose="02040503050406030204" pitchFamily="18" charset="0"/>
                      </a:rPr>
                      <m:t>𝑱</m:t>
                    </m:r>
                  </m:oMath>
                </a14:m>
                <a:endParaRPr lang="en-GB" sz="800" b="1" dirty="0">
                  <a:latin typeface="+mn-lt"/>
                </a:endParaRP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3379DEE7-FB57-C60C-A33B-27D15882E96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71749" y="5236889"/>
                <a:ext cx="4142764" cy="215444"/>
              </a:xfrm>
              <a:prstGeom prst="rect">
                <a:avLst/>
              </a:prstGeom>
              <a:blipFill>
                <a:blip r:embed="rId3"/>
                <a:stretch>
                  <a:fillRect b="-11429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Picture 4">
            <a:extLst>
              <a:ext uri="{FF2B5EF4-FFF2-40B4-BE49-F238E27FC236}">
                <a16:creationId xmlns:a16="http://schemas.microsoft.com/office/drawing/2014/main" id="{BFA86C35-02B5-1F9B-78D1-9712B034A4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08763" y="3231763"/>
            <a:ext cx="3868737" cy="206059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41F2E59-BC92-8244-D266-091FE97E4FA7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5408763" y="995485"/>
            <a:ext cx="3868737" cy="2060597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C377A8F6-7472-D0C0-9122-AAED66242135}"/>
                  </a:ext>
                </a:extLst>
              </p:cNvPr>
              <p:cNvSpPr txBox="1"/>
              <p:nvPr/>
            </p:nvSpPr>
            <p:spPr>
              <a:xfrm>
                <a:off x="5260668" y="3000610"/>
                <a:ext cx="4142764" cy="2311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28600" indent="-228600" algn="ctr">
                  <a:buFont typeface="+mj-lt"/>
                  <a:buAutoNum type="alphaLcParenR"/>
                </a:pPr>
                <a:r>
                  <a:rPr lang="en-US" sz="800" b="1" dirty="0">
                    <a:latin typeface="+mn-lt"/>
                  </a:rPr>
                  <a:t> </a:t>
                </a:r>
                <a:r>
                  <a:rPr lang="en-US" sz="800" b="1" i="1" dirty="0">
                    <a:latin typeface="+mn-lt"/>
                  </a:rPr>
                  <a:t>Veldhuis Wing</a:t>
                </a:r>
                <a:r>
                  <a:rPr lang="en-US" sz="800" b="1" dirty="0">
                    <a:latin typeface="+mn-lt"/>
                  </a:rPr>
                  <a:t> -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8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800" b="1" i="1" smtClean="0">
                            <a:latin typeface="Cambria Math" panose="02040503050406030204" pitchFamily="18" charset="0"/>
                          </a:rPr>
                          <m:t>𝑪</m:t>
                        </m:r>
                      </m:e>
                      <m:sub>
                        <m:r>
                          <a:rPr lang="en-US" sz="800" b="1" i="1" smtClean="0">
                            <a:latin typeface="Cambria Math" panose="02040503050406030204" pitchFamily="18" charset="0"/>
                          </a:rPr>
                          <m:t>𝑳</m:t>
                        </m:r>
                      </m:sub>
                    </m:sSub>
                  </m:oMath>
                </a14:m>
                <a:r>
                  <a:rPr lang="en-GB" sz="800" b="1" dirty="0">
                    <a:latin typeface="+mn-lt"/>
                  </a:rPr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800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800" b="1" i="1">
                            <a:latin typeface="Cambria Math" panose="02040503050406030204" pitchFamily="18" charset="0"/>
                          </a:rPr>
                          <m:t>𝑪</m:t>
                        </m:r>
                      </m:e>
                      <m:sub>
                        <m:sSub>
                          <m:sSubPr>
                            <m:ctrlPr>
                              <a:rPr lang="en-US" sz="800" b="1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800" b="1" i="1" smtClean="0">
                                <a:latin typeface="Cambria Math" panose="02040503050406030204" pitchFamily="18" charset="0"/>
                              </a:rPr>
                              <m:t>𝑫</m:t>
                            </m:r>
                          </m:e>
                          <m:sub>
                            <m:r>
                              <a:rPr lang="en-US" sz="800" b="1" i="1" smtClean="0">
                                <a:latin typeface="Cambria Math" panose="02040503050406030204" pitchFamily="18" charset="0"/>
                              </a:rPr>
                              <m:t>𝒊𝒏𝒗</m:t>
                            </m:r>
                          </m:sub>
                        </m:sSub>
                      </m:sub>
                    </m:sSub>
                  </m:oMath>
                </a14:m>
                <a:r>
                  <a:rPr lang="en-GB" sz="800" b="1" dirty="0">
                    <a:latin typeface="+mn-lt"/>
                  </a:rPr>
                  <a:t> v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sz="800" b="1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800" b="1" i="1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𝜶</m:t>
                        </m:r>
                      </m:e>
                      <m:sub>
                        <m:r>
                          <a:rPr lang="en-US" sz="800" b="1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𝑾</m:t>
                        </m:r>
                      </m:sub>
                    </m:sSub>
                  </m:oMath>
                </a14:m>
                <a:endParaRPr lang="en-GB" sz="800" b="1" dirty="0">
                  <a:latin typeface="+mn-lt"/>
                </a:endParaRPr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C377A8F6-7472-D0C0-9122-AAED662421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60668" y="3000610"/>
                <a:ext cx="4142764" cy="231154"/>
              </a:xfrm>
              <a:prstGeom prst="rect">
                <a:avLst/>
              </a:prstGeom>
              <a:blipFill>
                <a:blip r:embed="rId6"/>
                <a:stretch>
                  <a:fillRect b="-2632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00426812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38ED40-9917-A294-BEA6-82CFEB6E35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erodynamic Investigation: Complex Modes</a:t>
            </a:r>
            <a:endParaRPr lang="en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6" name="Content Placeholder 5">
                <a:extLst>
                  <a:ext uri="{FF2B5EF4-FFF2-40B4-BE49-F238E27FC236}">
                    <a16:creationId xmlns:a16="http://schemas.microsoft.com/office/drawing/2014/main" id="{1D062EA0-CDCF-48DC-6C73-3A9678449E30}"/>
                  </a:ext>
                </a:extLst>
              </p:cNvPr>
              <p:cNvGraphicFramePr>
                <a:graphicFrameLocks noGrp="1"/>
              </p:cNvGraphicFramePr>
              <p:nvPr>
                <p:ph idx="1"/>
              </p:nvPr>
            </p:nvGraphicFramePr>
            <p:xfrm>
              <a:off x="384660" y="3722556"/>
              <a:ext cx="4186438" cy="132114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746276">
                      <a:extLst>
                        <a:ext uri="{9D8B030D-6E8A-4147-A177-3AD203B41FA5}">
                          <a16:colId xmlns:a16="http://schemas.microsoft.com/office/drawing/2014/main" val="3292926077"/>
                        </a:ext>
                      </a:extLst>
                    </a:gridCol>
                    <a:gridCol w="1440162">
                      <a:extLst>
                        <a:ext uri="{9D8B030D-6E8A-4147-A177-3AD203B41FA5}">
                          <a16:colId xmlns:a16="http://schemas.microsoft.com/office/drawing/2014/main" val="4200956874"/>
                        </a:ext>
                      </a:extLst>
                    </a:gridCol>
                  </a:tblGrid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Wing Parameter</a:t>
                          </a:r>
                          <a:endParaRPr lang="en-DE" sz="1200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Value</a:t>
                          </a:r>
                          <a:endParaRPr lang="en-DE" sz="1200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765532567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Arial" panose="020B0604020202020204" pitchFamily="34" charset="0"/>
                            </a:rPr>
                            <a:t>Airfoil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NACA 0012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422716494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Arial" panose="020B0604020202020204" pitchFamily="34" charset="0"/>
                            </a:rPr>
                            <a:t>Planform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Rectangular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4091580403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Wingspan (</a:t>
                          </a: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  <m:t>𝑊</m:t>
                                  </m:r>
                                </m:sub>
                              </m:sSub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, </m:t>
                              </m:r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𝑚</m:t>
                              </m:r>
                            </m:oMath>
                          </a14:m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6.096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386646884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Wing chord (</a:t>
                          </a: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  <m:t>𝑐</m:t>
                                  </m:r>
                                </m:e>
                                <m:sub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  <m:t>𝑊</m:t>
                                  </m:r>
                                </m:sub>
                              </m:sSub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Times New Roman" panose="02020603050405020304" pitchFamily="18" charset="0"/>
                                </a:rPr>
                                <m:t>, </m:t>
                              </m:r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Times New Roman" panose="02020603050405020304" pitchFamily="18" charset="0"/>
                                </a:rPr>
                                <m:t>𝑚</m:t>
                              </m:r>
                            </m:oMath>
                          </a14:m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1.8288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580983902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6" name="Content Placeholder 5">
                <a:extLst>
                  <a:ext uri="{FF2B5EF4-FFF2-40B4-BE49-F238E27FC236}">
                    <a16:creationId xmlns:a16="http://schemas.microsoft.com/office/drawing/2014/main" id="{1D062EA0-CDCF-48DC-6C73-3A9678449E30}"/>
                  </a:ext>
                </a:extLst>
              </p:cNvPr>
              <p:cNvGraphicFramePr>
                <a:graphicFrameLocks noGrp="1"/>
              </p:cNvGraphicFramePr>
              <p:nvPr>
                <p:ph idx="1"/>
                <p:extLst>
                  <p:ext uri="{D42A27DB-BD31-4B8C-83A1-F6EECF244321}">
                    <p14:modId xmlns:p14="http://schemas.microsoft.com/office/powerpoint/2010/main" val="3155385749"/>
                  </p:ext>
                </p:extLst>
              </p:nvPr>
            </p:nvGraphicFramePr>
            <p:xfrm>
              <a:off x="384660" y="3722556"/>
              <a:ext cx="4186438" cy="132114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746276">
                      <a:extLst>
                        <a:ext uri="{9D8B030D-6E8A-4147-A177-3AD203B41FA5}">
                          <a16:colId xmlns:a16="http://schemas.microsoft.com/office/drawing/2014/main" val="3292926077"/>
                        </a:ext>
                      </a:extLst>
                    </a:gridCol>
                    <a:gridCol w="1440162">
                      <a:extLst>
                        <a:ext uri="{9D8B030D-6E8A-4147-A177-3AD203B41FA5}">
                          <a16:colId xmlns:a16="http://schemas.microsoft.com/office/drawing/2014/main" val="4200956874"/>
                        </a:ext>
                      </a:extLst>
                    </a:gridCol>
                  </a:tblGrid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Wing Parameter</a:t>
                          </a:r>
                          <a:endParaRPr lang="en-DE" sz="1200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Value</a:t>
                          </a:r>
                          <a:endParaRPr lang="en-DE" sz="1200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765532567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Arial" panose="020B0604020202020204" pitchFamily="34" charset="0"/>
                            </a:rPr>
                            <a:t>Airfoil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NACA 0012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422716494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Arial" panose="020B0604020202020204" pitchFamily="34" charset="0"/>
                            </a:rPr>
                            <a:t>Planform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Rectangular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4091580403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2"/>
                          <a:stretch>
                            <a:fillRect l="-222" t="-313953" r="-53437" b="-113953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6.096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386646884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2"/>
                          <a:stretch>
                            <a:fillRect l="-222" t="-404545" r="-53437" b="-1136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1.8288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580983902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94EA77-4737-FD1E-A05D-4B2E2F5578A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Model Description</a:t>
            </a:r>
            <a:endParaRPr lang="en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3" name="Table 2">
                <a:extLst>
                  <a:ext uri="{FF2B5EF4-FFF2-40B4-BE49-F238E27FC236}">
                    <a16:creationId xmlns:a16="http://schemas.microsoft.com/office/drawing/2014/main" id="{59C44DD7-90E7-032D-1782-73777BDBC76E}"/>
                  </a:ext>
                </a:extLst>
              </p:cNvPr>
              <p:cNvGraphicFramePr>
                <a:graphicFrameLocks noGrp="1"/>
              </p:cNvGraphicFramePr>
              <p:nvPr/>
            </p:nvGraphicFramePr>
            <p:xfrm>
              <a:off x="4917016" y="3722556"/>
              <a:ext cx="4360484" cy="132114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3000066">
                      <a:extLst>
                        <a:ext uri="{9D8B030D-6E8A-4147-A177-3AD203B41FA5}">
                          <a16:colId xmlns:a16="http://schemas.microsoft.com/office/drawing/2014/main" val="2486752050"/>
                        </a:ext>
                      </a:extLst>
                    </a:gridCol>
                    <a:gridCol w="1360418">
                      <a:extLst>
                        <a:ext uri="{9D8B030D-6E8A-4147-A177-3AD203B41FA5}">
                          <a16:colId xmlns:a16="http://schemas.microsoft.com/office/drawing/2014/main" val="131658472"/>
                        </a:ext>
                      </a:extLst>
                    </a:gridCol>
                  </a:tblGrid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Simulation Parameter (Fixed)</a:t>
                          </a:r>
                          <a:endParaRPr lang="en-DE" sz="1200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Value</a:t>
                          </a:r>
                          <a:endParaRPr lang="en-DE" sz="1200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616760099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Freestream velocity (</a:t>
                          </a: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US" sz="1200" i="1" smtClean="0">
                                      <a:effectLst/>
                                      <a:latin typeface="Cambria Math" panose="02040503050406030204" pitchFamily="18" charset="0"/>
                                      <a:cs typeface="Times New Roman" panose="020206030504050203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200" b="0" i="1" smtClean="0">
                                      <a:effectLst/>
                                      <a:latin typeface="Cambria Math" panose="02040503050406030204" pitchFamily="18" charset="0"/>
                                      <a:cs typeface="Times New Roman" panose="02020603050405020304" pitchFamily="18" charset="0"/>
                                    </a:rPr>
                                    <m:t>𝑢</m:t>
                                  </m:r>
                                </m:e>
                                <m:sub>
                                  <m:r>
                                    <a:rPr lang="en-US" sz="1200" i="1" smtClean="0">
                                      <a:effectLst/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Times New Roman" panose="02020603050405020304" pitchFamily="18" charset="0"/>
                                    </a:rPr>
                                    <m:t>∞</m:t>
                                  </m:r>
                                </m:sub>
                              </m:sSub>
                              <m:r>
                                <a:rPr lang="en-US" sz="1200" b="0" i="1" smtClean="0">
                                  <a:effectLst/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, </m:t>
                              </m:r>
                              <m:r>
                                <a:rPr lang="en-US" sz="1200" b="0" i="1" smtClean="0">
                                  <a:effectLst/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𝑚</m:t>
                              </m:r>
                              <m:sSup>
                                <m:sSupPr>
                                  <m:ctrlPr>
                                    <a:rPr lang="en-US" sz="1200" b="0" i="1" smtClean="0">
                                      <a:effectLst/>
                                      <a:latin typeface="Cambria Math" panose="02040503050406030204" pitchFamily="18" charset="0"/>
                                      <a:cs typeface="Times New Roman" panose="020206030504050203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200" b="0" i="1" smtClean="0">
                                      <a:effectLst/>
                                      <a:latin typeface="Cambria Math" panose="02040503050406030204" pitchFamily="18" charset="0"/>
                                      <a:cs typeface="Times New Roman" panose="02020603050405020304" pitchFamily="18" charset="0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en-US" sz="1200" b="0" i="1" smtClean="0">
                                      <a:effectLst/>
                                      <a:latin typeface="Cambria Math" panose="02040503050406030204" pitchFamily="18" charset="0"/>
                                      <a:cs typeface="Times New Roman" panose="02020603050405020304" pitchFamily="18" charset="0"/>
                                    </a:rPr>
                                    <m:t>−1</m:t>
                                  </m:r>
                                </m:sup>
                              </m:sSup>
                            </m:oMath>
                          </a14:m>
                          <a:r>
                            <a:rPr lang="en-US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50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688761073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Freestream</a:t>
                          </a:r>
                          <a:r>
                            <a:rPr lang="en-US" sz="1200" baseline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 density </a:t>
                          </a:r>
                          <a:r>
                            <a:rPr lang="en-US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(</a:t>
                          </a: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GB" sz="1200" i="1" smtClean="0">
                                      <a:effectLst/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𝜌</m:t>
                                  </m:r>
                                </m:e>
                                <m:sub>
                                  <m:r>
                                    <a:rPr lang="en-DE" sz="1200" i="1" smtClean="0">
                                      <a:effectLst/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∞</m:t>
                                  </m:r>
                                </m:sub>
                              </m:sSub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, </m:t>
                              </m:r>
                              <m:r>
                                <a:rPr lang="en-US" sz="1200" b="0" i="1" smtClean="0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Arial" panose="020B0604020202020204" pitchFamily="34" charset="0"/>
                                </a:rPr>
                                <m:t>𝑘𝑔</m:t>
                              </m:r>
                              <m:sSup>
                                <m:sSupPr>
                                  <m:ctrlPr>
                                    <a:rPr lang="en-US" sz="1200" b="0" i="1" smtClean="0">
                                      <a:effectLst/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200" b="0" i="1" smtClean="0">
                                      <a:effectLst/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𝑚</m:t>
                                  </m:r>
                                </m:e>
                                <m:sup>
                                  <m:r>
                                    <a:rPr lang="en-US" sz="1200" b="0" i="1" smtClean="0">
                                      <a:effectLst/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−3</m:t>
                                  </m:r>
                                </m:sup>
                              </m:sSup>
                            </m:oMath>
                          </a14:m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Arial" panose="020B0604020202020204" pitchFamily="34" charset="0"/>
                            </a:rPr>
                            <a:t>1.225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471326476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Normalised Z-position (</a:t>
                          </a:r>
                          <a14:m>
                            <m:oMath xmlns:m="http://schemas.openxmlformats.org/officeDocument/2006/math">
                              <m:f>
                                <m:fPr>
                                  <m:type m:val="lin"/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</m:ctrlPr>
                                </m:fPr>
                                <m:num>
                                  <m:sSub>
                                    <m:sSubPr>
                                      <m:ctrlPr>
                                        <a:rPr lang="en-DE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Times New Roman" panose="020206030504050203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Times New Roman" panose="02020603050405020304" pitchFamily="18" charset="0"/>
                                        </a:rPr>
                                        <m:t>𝑧</m:t>
                                      </m:r>
                                    </m:e>
                                    <m:sub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Times New Roman" panose="02020603050405020304" pitchFamily="18" charset="0"/>
                                        </a:rPr>
                                        <m:t>𝑃</m:t>
                                      </m:r>
                                    </m:sub>
                                  </m:sSub>
                                </m:num>
                                <m:den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  <m:t>𝑅</m:t>
                                  </m:r>
                                </m:den>
                              </m:f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Times New Roman" panose="02020603050405020304" pitchFamily="18" charset="0"/>
                                </a:rPr>
                                <m:t>, −</m:t>
                              </m:r>
                            </m:oMath>
                          </a14:m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0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243417516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Normalised X-position (</a:t>
                          </a:r>
                          <a14:m>
                            <m:oMath xmlns:m="http://schemas.openxmlformats.org/officeDocument/2006/math">
                              <m:f>
                                <m:fPr>
                                  <m:type m:val="lin"/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</m:ctrlPr>
                                </m:fPr>
                                <m:num>
                                  <m:sSub>
                                    <m:sSubPr>
                                      <m:ctrlPr>
                                        <a:rPr lang="en-DE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Times New Roman" panose="020206030504050203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Times New Roman" panose="02020603050405020304" pitchFamily="18" charset="0"/>
                                        </a:rPr>
                                        <m:t>𝑥</m:t>
                                      </m:r>
                                    </m:e>
                                    <m:sub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Times New Roman" panose="02020603050405020304" pitchFamily="18" charset="0"/>
                                        </a:rPr>
                                        <m:t>𝑃</m:t>
                                      </m:r>
                                    </m:sub>
                                  </m:sSub>
                                </m:num>
                                <m:den>
                                  <m:sSub>
                                    <m:sSubPr>
                                      <m:ctrlPr>
                                        <a:rPr lang="en-DE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Times New Roman" panose="020206030504050203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Times New Roman" panose="02020603050405020304" pitchFamily="18" charset="0"/>
                                        </a:rPr>
                                        <m:t>𝑐</m:t>
                                      </m:r>
                                    </m:e>
                                    <m:sub>
                                      <m:r>
                                        <a:rPr lang="en-GB" sz="1200" i="1">
                                          <a:effectLst/>
                                          <a:latin typeface="Cambria Math" panose="02040503050406030204" pitchFamily="18" charset="0"/>
                                          <a:ea typeface="Arial" panose="020B0604020202020204" pitchFamily="34" charset="0"/>
                                          <a:cs typeface="Times New Roman" panose="02020603050405020304" pitchFamily="18" charset="0"/>
                                        </a:rPr>
                                        <m:t>𝑊</m:t>
                                      </m:r>
                                    </m:sub>
                                  </m:sSub>
                                </m:den>
                              </m:f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Times New Roman" panose="02020603050405020304" pitchFamily="18" charset="0"/>
                                </a:rPr>
                                <m:t>, −</m:t>
                              </m:r>
                            </m:oMath>
                          </a14:m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-0.5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963356673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3" name="Table 2">
                <a:extLst>
                  <a:ext uri="{FF2B5EF4-FFF2-40B4-BE49-F238E27FC236}">
                    <a16:creationId xmlns:a16="http://schemas.microsoft.com/office/drawing/2014/main" id="{59C44DD7-90E7-032D-1782-73777BDBC76E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07999100"/>
                  </p:ext>
                </p:extLst>
              </p:nvPr>
            </p:nvGraphicFramePr>
            <p:xfrm>
              <a:off x="4917016" y="3722556"/>
              <a:ext cx="4360484" cy="132114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3000066">
                      <a:extLst>
                        <a:ext uri="{9D8B030D-6E8A-4147-A177-3AD203B41FA5}">
                          <a16:colId xmlns:a16="http://schemas.microsoft.com/office/drawing/2014/main" val="2486752050"/>
                        </a:ext>
                      </a:extLst>
                    </a:gridCol>
                    <a:gridCol w="1360418">
                      <a:extLst>
                        <a:ext uri="{9D8B030D-6E8A-4147-A177-3AD203B41FA5}">
                          <a16:colId xmlns:a16="http://schemas.microsoft.com/office/drawing/2014/main" val="131658472"/>
                        </a:ext>
                      </a:extLst>
                    </a:gridCol>
                  </a:tblGrid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Simulation Parameter (Fixed)</a:t>
                          </a:r>
                          <a:endParaRPr lang="en-DE" sz="1200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Value</a:t>
                          </a:r>
                          <a:endParaRPr lang="en-DE" sz="1200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616760099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3"/>
                          <a:stretch>
                            <a:fillRect l="-203" t="-111628" r="-46247" b="-45814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50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688761073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3"/>
                          <a:stretch>
                            <a:fillRect l="-203" t="-206818" r="-46247" b="-34772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Arial" panose="020B0604020202020204" pitchFamily="34" charset="0"/>
                            </a:rPr>
                            <a:t>1.225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471326476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3"/>
                          <a:stretch>
                            <a:fillRect l="-203" t="-313953" r="-46247" b="-25581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0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243417516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3"/>
                          <a:stretch>
                            <a:fillRect l="-203" t="-404545" r="-46247" b="-15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-0.5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963356673"/>
                      </a:ext>
                    </a:extLst>
                  </a:tr>
                </a:tbl>
              </a:graphicData>
            </a:graphic>
          </p:graphicFrame>
        </mc:Fallback>
      </mc:AlternateContent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5" name="Content Placeholder 5">
                <a:extLst>
                  <a:ext uri="{FF2B5EF4-FFF2-40B4-BE49-F238E27FC236}">
                    <a16:creationId xmlns:a16="http://schemas.microsoft.com/office/drawing/2014/main" id="{BEC95736-68F9-86F5-81A5-CC83ADB16DE8}"/>
                  </a:ext>
                </a:extLst>
              </p:cNvPr>
              <p:cNvGraphicFramePr>
                <a:graphicFrameLocks/>
              </p:cNvGraphicFramePr>
              <p:nvPr/>
            </p:nvGraphicFramePr>
            <p:xfrm>
              <a:off x="376812" y="1345332"/>
              <a:ext cx="4186438" cy="1849596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742352">
                      <a:extLst>
                        <a:ext uri="{9D8B030D-6E8A-4147-A177-3AD203B41FA5}">
                          <a16:colId xmlns:a16="http://schemas.microsoft.com/office/drawing/2014/main" val="3292926077"/>
                        </a:ext>
                      </a:extLst>
                    </a:gridCol>
                    <a:gridCol w="1444086">
                      <a:extLst>
                        <a:ext uri="{9D8B030D-6E8A-4147-A177-3AD203B41FA5}">
                          <a16:colId xmlns:a16="http://schemas.microsoft.com/office/drawing/2014/main" val="4200956874"/>
                        </a:ext>
                      </a:extLst>
                    </a:gridCol>
                  </a:tblGrid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Propeller Parameter</a:t>
                          </a:r>
                          <a:endParaRPr lang="en-DE" sz="1200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Value</a:t>
                          </a:r>
                          <a:endParaRPr lang="en-DE" sz="1200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765532567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Airfoil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NACA 0012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422716494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Number of blades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4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4091580403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Propeller radius (</a:t>
                          </a:r>
                          <a14:m>
                            <m:oMath xmlns:m="http://schemas.openxmlformats.org/officeDocument/2006/math"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Times New Roman" panose="02020603050405020304" pitchFamily="18" charset="0"/>
                                </a:rPr>
                                <m:t>𝑅</m:t>
                              </m:r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, </m:t>
                              </m:r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𝑚</m:t>
                              </m:r>
                            </m:oMath>
                          </a14:m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762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386646884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Propeller chord (</a:t>
                          </a: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  <m:t>𝑐</m:t>
                                  </m:r>
                                </m:e>
                                <m:sub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  <m:t>𝑃</m:t>
                                  </m:r>
                                </m:sub>
                              </m:sSub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Times New Roman" panose="02020603050405020304" pitchFamily="18" charset="0"/>
                                </a:rPr>
                                <m:t>, </m:t>
                              </m:r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Times New Roman" panose="02020603050405020304" pitchFamily="18" charset="0"/>
                                </a:rPr>
                                <m:t>𝑚</m:t>
                              </m:r>
                            </m:oMath>
                          </a14:m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1863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580983902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Propeller twist (</a:t>
                          </a: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  <m:t>𝜃</m:t>
                                  </m:r>
                                </m:e>
                                <m:sub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  <m:t>𝑃</m:t>
                                  </m:r>
                                </m:sub>
                              </m:sSub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Times New Roman" panose="02020603050405020304" pitchFamily="18" charset="0"/>
                                </a:rPr>
                                <m:t>, </m:t>
                              </m:r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Times New Roman" panose="02020603050405020304" pitchFamily="18" charset="0"/>
                                </a:rPr>
                                <m:t>𝑑𝑒𝑔</m:t>
                              </m:r>
                            </m:oMath>
                          </a14:m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32.71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357907282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Propeller blade pitch angle (</a:t>
                          </a: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DE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  <m:t>𝛽</m:t>
                                  </m:r>
                                </m:e>
                                <m:sub>
                                  <m:r>
                                    <a:rPr lang="en-GB" sz="1200" i="1">
                                      <a:effectLst/>
                                      <a:latin typeface="Cambria Math" panose="02040503050406030204" pitchFamily="18" charset="0"/>
                                      <a:ea typeface="Arial" panose="020B0604020202020204" pitchFamily="34" charset="0"/>
                                      <a:cs typeface="Times New Roman" panose="02020603050405020304" pitchFamily="18" charset="0"/>
                                    </a:rPr>
                                    <m:t>0.75</m:t>
                                  </m:r>
                                </m:sub>
                              </m:sSub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Times New Roman" panose="02020603050405020304" pitchFamily="18" charset="0"/>
                                </a:rPr>
                                <m:t>, </m:t>
                              </m:r>
                              <m:r>
                                <a:rPr lang="en-GB" sz="1200" i="1">
                                  <a:effectLst/>
                                  <a:latin typeface="Cambria Math" panose="02040503050406030204" pitchFamily="18" charset="0"/>
                                  <a:ea typeface="Arial" panose="020B0604020202020204" pitchFamily="34" charset="0"/>
                                  <a:cs typeface="Times New Roman" panose="02020603050405020304" pitchFamily="18" charset="0"/>
                                </a:rPr>
                                <m:t>𝑑𝑒𝑔</m:t>
                              </m:r>
                            </m:oMath>
                          </a14:m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34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4262275274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5" name="Content Placeholder 5">
                <a:extLst>
                  <a:ext uri="{FF2B5EF4-FFF2-40B4-BE49-F238E27FC236}">
                    <a16:creationId xmlns:a16="http://schemas.microsoft.com/office/drawing/2014/main" id="{BEC95736-68F9-86F5-81A5-CC83ADB16DE8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4157587708"/>
                  </p:ext>
                </p:extLst>
              </p:nvPr>
            </p:nvGraphicFramePr>
            <p:xfrm>
              <a:off x="376812" y="1345332"/>
              <a:ext cx="4186438" cy="1849596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742352">
                      <a:extLst>
                        <a:ext uri="{9D8B030D-6E8A-4147-A177-3AD203B41FA5}">
                          <a16:colId xmlns:a16="http://schemas.microsoft.com/office/drawing/2014/main" val="3292926077"/>
                        </a:ext>
                      </a:extLst>
                    </a:gridCol>
                    <a:gridCol w="1444086">
                      <a:extLst>
                        <a:ext uri="{9D8B030D-6E8A-4147-A177-3AD203B41FA5}">
                          <a16:colId xmlns:a16="http://schemas.microsoft.com/office/drawing/2014/main" val="4200956874"/>
                        </a:ext>
                      </a:extLst>
                    </a:gridCol>
                  </a:tblGrid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Propeller Parameter</a:t>
                          </a:r>
                          <a:endParaRPr lang="en-DE" sz="1200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US" sz="120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Value</a:t>
                          </a:r>
                          <a:endParaRPr lang="en-DE" sz="1200" dirty="0">
                            <a:solidFill>
                              <a:schemeClr val="bg1"/>
                            </a:solidFill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765532567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Airfoil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NACA 0012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422716494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Number of blades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4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4091580403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4"/>
                          <a:stretch>
                            <a:fillRect l="-222" t="-313953" r="-53437" b="-313953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762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386646884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4"/>
                          <a:stretch>
                            <a:fillRect l="-222" t="-404545" r="-53437" b="-20681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0.1863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580983902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4"/>
                          <a:stretch>
                            <a:fillRect l="-222" t="-516279" r="-53437" b="-11162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32.71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357907282"/>
                      </a:ext>
                    </a:extLst>
                  </a:tr>
                  <a:tr h="264228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4"/>
                          <a:stretch>
                            <a:fillRect l="-222" t="-602273" r="-53437" b="-909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5000"/>
                            </a:lnSpc>
                          </a:pPr>
                          <a:r>
                            <a:rPr lang="en-GB" sz="1200" dirty="0">
                              <a:effectLst/>
                              <a:latin typeface="Arial" panose="020B0604020202020204" pitchFamily="34" charset="0"/>
                              <a:ea typeface="Arial" panose="020B0604020202020204" pitchFamily="34" charset="0"/>
                              <a:cs typeface="Times New Roman" panose="02020603050405020304" pitchFamily="18" charset="0"/>
                            </a:rPr>
                            <a:t>34</a:t>
                          </a:r>
                          <a:endParaRPr lang="en-DE" sz="1200" dirty="0">
                            <a:effectLst/>
                            <a:latin typeface="Arial" panose="020B0604020202020204" pitchFamily="34" charset="0"/>
                            <a:ea typeface="Arial" panose="020B060402020202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4262275274"/>
                      </a:ext>
                    </a:extLst>
                  </a:tr>
                </a:tbl>
              </a:graphicData>
            </a:graphic>
          </p:graphicFrame>
        </mc:Fallback>
      </mc:AlternateContent>
      <p:pic>
        <p:nvPicPr>
          <p:cNvPr id="9" name="Picture 8">
            <a:extLst>
              <a:ext uri="{FF2B5EF4-FFF2-40B4-BE49-F238E27FC236}">
                <a16:creationId xmlns:a16="http://schemas.microsoft.com/office/drawing/2014/main" id="{91946099-E171-63B0-25D8-A84853582097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2597" t="5608" r="2673" b="4676"/>
          <a:stretch/>
        </p:blipFill>
        <p:spPr>
          <a:xfrm>
            <a:off x="4915964" y="1057300"/>
            <a:ext cx="4633014" cy="2448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953272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38ED40-9917-A294-BEA6-82CFEB6E35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erodynamic Investigation: Complex Modes</a:t>
            </a:r>
            <a:endParaRPr lang="en-D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94EA77-4737-FD1E-A05D-4B2E2F5578A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Model Description</a:t>
            </a:r>
            <a:endParaRPr lang="en-DE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6" name="Content Placeholder 2">
                <a:extLst>
                  <a:ext uri="{FF2B5EF4-FFF2-40B4-BE49-F238E27FC236}">
                    <a16:creationId xmlns:a16="http://schemas.microsoft.com/office/drawing/2014/main" id="{2D8B4533-EFCF-B987-1E09-BE27CF4D839D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317499" y="1168147"/>
                <a:ext cx="5091263" cy="41764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>
                <a:lvl1pPr marL="0" indent="0" algn="l" rtl="0" eaLnBrk="0" fontAlgn="base" hangingPunct="0">
                  <a:spcBef>
                    <a:spcPts val="0"/>
                  </a:spcBef>
                  <a:spcAft>
                    <a:spcPts val="0"/>
                  </a:spcAft>
                  <a:buFontTx/>
                  <a:buNone/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1pPr>
                <a:lvl2pPr marL="0" indent="0" algn="l" rtl="0" eaLnBrk="0" fontAlgn="base" hangingPunct="0">
                  <a:spcBef>
                    <a:spcPts val="2000"/>
                  </a:spcBef>
                  <a:spcAft>
                    <a:spcPct val="0"/>
                  </a:spcAft>
                  <a:buNone/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2pPr>
                <a:lvl3pPr marL="723900" indent="-3683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Verdana" pitchFamily="34" charset="0"/>
                  <a:buChar char="&gt;"/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3pPr>
                <a:lvl4pPr marL="0" indent="0" algn="l" rtl="0" eaLnBrk="0" fontAlgn="base" hangingPunct="0">
                  <a:spcBef>
                    <a:spcPts val="1600"/>
                  </a:spcBef>
                  <a:spcAft>
                    <a:spcPct val="0"/>
                  </a:spcAft>
                  <a:buFontTx/>
                  <a:buNone/>
                  <a:defRPr sz="11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4pPr>
                <a:lvl5pPr marL="723900" indent="-3683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Verdana" pitchFamily="34" charset="0"/>
                  <a:buChar char="&gt;"/>
                  <a:defRPr sz="11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5000"/>
                  </a:lnSpc>
                </a:pPr>
                <a:endParaRPr lang="en-US" dirty="0"/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r>
                  <a:rPr lang="en-US" dirty="0"/>
                  <a:t>Propeller performance curve shows a decrease 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DE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𝑇</m:t>
                        </m:r>
                      </m:sub>
                    </m:sSub>
                  </m:oMath>
                </a14:m>
                <a:r>
                  <a:rPr lang="en-US" dirty="0"/>
                  <a:t> for an increase in </a:t>
                </a:r>
                <a14:m>
                  <m:oMath xmlns:m="http://schemas.openxmlformats.org/officeDocument/2006/math">
                    <m:r>
                      <a:rPr lang="en-US" i="1" dirty="0" smtClean="0">
                        <a:latin typeface="Cambria Math" panose="02040503050406030204" pitchFamily="18" charset="0"/>
                      </a:rPr>
                      <m:t>𝐽</m:t>
                    </m:r>
                  </m:oMath>
                </a14:m>
                <a:r>
                  <a:rPr lang="en-US" dirty="0"/>
                  <a:t>.</a:t>
                </a:r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r>
                  <a:rPr lang="en-US" dirty="0"/>
                  <a:t>Windmilling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DE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𝑇</m:t>
                        </m:r>
                      </m:sub>
                    </m:sSub>
                  </m:oMath>
                </a14:m>
                <a:r>
                  <a:rPr lang="en-US" dirty="0"/>
                  <a:t> is around 1.42 (for the chosen propeller at the given simulation settings).</a:t>
                </a:r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endParaRPr lang="en-US" dirty="0"/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endParaRPr lang="en-US" dirty="0"/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endParaRPr lang="en-US" dirty="0"/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r>
                  <a:rPr lang="en-US" dirty="0"/>
                  <a:t>Maximum thrust about 70%-90% of propeller radius.</a:t>
                </a:r>
              </a:p>
              <a:p>
                <a:pPr>
                  <a:lnSpc>
                    <a:spcPct val="125000"/>
                  </a:lnSpc>
                </a:pPr>
                <a:endParaRPr lang="en-DE" dirty="0"/>
              </a:p>
            </p:txBody>
          </p:sp>
        </mc:Choice>
        <mc:Fallback>
          <p:sp>
            <p:nvSpPr>
              <p:cNvPr id="16" name="Content Placeholder 2">
                <a:extLst>
                  <a:ext uri="{FF2B5EF4-FFF2-40B4-BE49-F238E27FC236}">
                    <a16:creationId xmlns:a16="http://schemas.microsoft.com/office/drawing/2014/main" id="{2D8B4533-EFCF-B987-1E09-BE27CF4D839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17499" y="1168147"/>
                <a:ext cx="5091263" cy="4176464"/>
              </a:xfrm>
              <a:prstGeom prst="rect">
                <a:avLst/>
              </a:prstGeom>
              <a:blipFill>
                <a:blip r:embed="rId2"/>
                <a:stretch>
                  <a:fillRect l="-2275" r="-3473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3379DEE7-FB57-C60C-A33B-27D15882E962}"/>
                  </a:ext>
                </a:extLst>
              </p:cNvPr>
              <p:cNvSpPr txBox="1"/>
              <p:nvPr/>
            </p:nvSpPr>
            <p:spPr>
              <a:xfrm>
                <a:off x="5408762" y="3102737"/>
                <a:ext cx="4063179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28600" indent="-228600" algn="ctr">
                  <a:buFont typeface="+mj-lt"/>
                  <a:buAutoNum type="alphaLcParenR"/>
                </a:pPr>
                <a:r>
                  <a:rPr lang="en-US" sz="800" b="1" dirty="0">
                    <a:latin typeface="+mn-lt"/>
                  </a:rPr>
                  <a:t> </a:t>
                </a:r>
                <a:r>
                  <a:rPr lang="en-US" sz="800" b="1" i="1" dirty="0">
                    <a:latin typeface="+mn-lt"/>
                  </a:rPr>
                  <a:t>Propeller 2</a:t>
                </a:r>
                <a:r>
                  <a:rPr lang="en-US" sz="800" b="1" dirty="0">
                    <a:latin typeface="+mn-lt"/>
                  </a:rPr>
                  <a:t> -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8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800" b="1" i="1" smtClean="0">
                            <a:latin typeface="Cambria Math" panose="02040503050406030204" pitchFamily="18" charset="0"/>
                          </a:rPr>
                          <m:t>𝑪</m:t>
                        </m:r>
                      </m:e>
                      <m:sub>
                        <m:r>
                          <a:rPr lang="en-US" sz="800" b="1" i="1" smtClean="0">
                            <a:latin typeface="Cambria Math" panose="02040503050406030204" pitchFamily="18" charset="0"/>
                          </a:rPr>
                          <m:t>𝑻</m:t>
                        </m:r>
                      </m:sub>
                    </m:sSub>
                  </m:oMath>
                </a14:m>
                <a:r>
                  <a:rPr lang="en-GB" sz="800" b="1" dirty="0">
                    <a:latin typeface="+mn-lt"/>
                  </a:rPr>
                  <a:t> vs </a:t>
                </a:r>
                <a14:m>
                  <m:oMath xmlns:m="http://schemas.openxmlformats.org/officeDocument/2006/math">
                    <m:r>
                      <a:rPr lang="en-GB" sz="800" b="1" i="1" dirty="0" smtClean="0">
                        <a:latin typeface="Cambria Math" panose="02040503050406030204" pitchFamily="18" charset="0"/>
                      </a:rPr>
                      <m:t>𝑱</m:t>
                    </m:r>
                  </m:oMath>
                </a14:m>
                <a:endParaRPr lang="en-GB" sz="800" b="1" dirty="0">
                  <a:latin typeface="+mn-lt"/>
                </a:endParaRPr>
              </a:p>
            </p:txBody>
          </p:sp>
        </mc:Choice>
        <mc:Fallback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3379DEE7-FB57-C60C-A33B-27D15882E96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08762" y="3102737"/>
                <a:ext cx="4063179" cy="215444"/>
              </a:xfrm>
              <a:prstGeom prst="rect">
                <a:avLst/>
              </a:prstGeom>
              <a:blipFill>
                <a:blip r:embed="rId3"/>
                <a:stretch>
                  <a:fillRect b="-8571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" name="Picture 2">
            <a:extLst>
              <a:ext uri="{FF2B5EF4-FFF2-40B4-BE49-F238E27FC236}">
                <a16:creationId xmlns:a16="http://schemas.microsoft.com/office/drawing/2014/main" id="{0D5BE2C7-972B-72D7-EEC2-612AD0B44E8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68778" y="1057300"/>
            <a:ext cx="4176464" cy="208454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910BA9A-C6A2-C9F8-878B-71D2659FC0A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25420" y="3318181"/>
            <a:ext cx="4063179" cy="1898985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1D9158C1-BCE9-9D68-A7B6-F2D2274006D5}"/>
                  </a:ext>
                </a:extLst>
              </p:cNvPr>
              <p:cNvSpPr txBox="1"/>
              <p:nvPr/>
            </p:nvSpPr>
            <p:spPr>
              <a:xfrm>
                <a:off x="5515971" y="5167282"/>
                <a:ext cx="4063179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28600" indent="-228600" algn="ctr">
                  <a:buFont typeface="+mj-lt"/>
                  <a:buAutoNum type="alphaLcParenR" startAt="2"/>
                </a:pPr>
                <a:r>
                  <a:rPr lang="en-US" sz="800" b="1" dirty="0">
                    <a:latin typeface="+mn-lt"/>
                  </a:rPr>
                  <a:t> </a:t>
                </a:r>
                <a:r>
                  <a:rPr lang="en-US" sz="800" b="1" i="1" dirty="0">
                    <a:latin typeface="+mn-lt"/>
                  </a:rPr>
                  <a:t>Propeller 2</a:t>
                </a:r>
                <a:r>
                  <a:rPr lang="en-US" sz="800" b="1" dirty="0">
                    <a:latin typeface="+mn-lt"/>
                  </a:rPr>
                  <a:t> - </a:t>
                </a:r>
                <a14:m>
                  <m:oMath xmlns:m="http://schemas.openxmlformats.org/officeDocument/2006/math">
                    <m:r>
                      <a:rPr lang="en-US" sz="800" b="1" i="1" smtClean="0">
                        <a:latin typeface="Cambria Math" panose="02040503050406030204" pitchFamily="18" charset="0"/>
                      </a:rPr>
                      <m:t>𝑻</m:t>
                    </m:r>
                  </m:oMath>
                </a14:m>
                <a:r>
                  <a:rPr lang="en-GB" sz="800" b="1" dirty="0">
                    <a:latin typeface="+mn-lt"/>
                  </a:rPr>
                  <a:t> vs </a:t>
                </a:r>
                <a14:m>
                  <m:oMath xmlns:m="http://schemas.openxmlformats.org/officeDocument/2006/math">
                    <m:f>
                      <m:fPr>
                        <m:type m:val="lin"/>
                        <m:ctrlPr>
                          <a:rPr lang="en-GB" sz="800" b="1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800" b="1" i="1" smtClean="0">
                            <a:latin typeface="Cambria Math" panose="02040503050406030204" pitchFamily="18" charset="0"/>
                          </a:rPr>
                          <m:t>𝒓</m:t>
                        </m:r>
                      </m:num>
                      <m:den>
                        <m:r>
                          <a:rPr lang="en-US" sz="800" b="1" i="1" smtClean="0">
                            <a:latin typeface="Cambria Math" panose="02040503050406030204" pitchFamily="18" charset="0"/>
                          </a:rPr>
                          <m:t>𝑹</m:t>
                        </m:r>
                      </m:den>
                    </m:f>
                  </m:oMath>
                </a14:m>
                <a:endParaRPr lang="en-GB" sz="800" b="1" dirty="0">
                  <a:latin typeface="+mn-lt"/>
                </a:endParaRPr>
              </a:p>
            </p:txBody>
          </p:sp>
        </mc:Choice>
        <mc:Fallback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1D9158C1-BCE9-9D68-A7B6-F2D2274006D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15971" y="5167282"/>
                <a:ext cx="4063179" cy="215444"/>
              </a:xfrm>
              <a:prstGeom prst="rect">
                <a:avLst/>
              </a:prstGeom>
              <a:blipFill>
                <a:blip r:embed="rId6"/>
                <a:stretch>
                  <a:fillRect t="-74286" b="-128571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7271270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6E013A-6095-74C3-F3E8-7FF1211940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0" y="409229"/>
            <a:ext cx="8960000" cy="385252"/>
          </a:xfrm>
        </p:spPr>
        <p:txBody>
          <a:bodyPr/>
          <a:lstStyle/>
          <a:p>
            <a:r>
              <a:rPr lang="de-DE" dirty="0"/>
              <a:t>Thesis Objectiv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88D1A24-C230-55E6-8ECB-1193715A3F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7501" y="1057300"/>
            <a:ext cx="9010972" cy="4320480"/>
          </a:xfrm>
        </p:spPr>
        <p:txBody>
          <a:bodyPr/>
          <a:lstStyle/>
          <a:p>
            <a:pPr>
              <a:lnSpc>
                <a:spcPct val="125000"/>
              </a:lnSpc>
            </a:pPr>
            <a:endParaRPr lang="en-US" sz="1500" b="1" dirty="0">
              <a:solidFill>
                <a:schemeClr val="accent3">
                  <a:lumMod val="75000"/>
                </a:schemeClr>
              </a:solidFill>
            </a:endParaRPr>
          </a:p>
          <a:p>
            <a:pPr>
              <a:lnSpc>
                <a:spcPct val="125000"/>
              </a:lnSpc>
            </a:pPr>
            <a:r>
              <a:rPr lang="en-US" sz="1500" b="1" dirty="0">
                <a:solidFill>
                  <a:schemeClr val="accent3">
                    <a:lumMod val="75000"/>
                  </a:schemeClr>
                </a:solidFill>
              </a:rPr>
              <a:t>Primary Objectives:</a:t>
            </a:r>
          </a:p>
          <a:p>
            <a:pPr marL="285744" indent="-285744">
              <a:lnSpc>
                <a:spcPct val="125000"/>
              </a:lnSpc>
              <a:buFont typeface="Wingdings" panose="05000000000000000000" pitchFamily="2" charset="2"/>
              <a:buChar char="§"/>
            </a:pPr>
            <a:r>
              <a:rPr lang="en-US" sz="1500" dirty="0"/>
              <a:t>To investigate the aerodynamic performance of wings undergoing </a:t>
            </a:r>
            <a:r>
              <a:rPr lang="en-US" sz="1500" u="sng" dirty="0"/>
              <a:t>pure-pitching</a:t>
            </a:r>
            <a:r>
              <a:rPr lang="en-US" sz="1500" dirty="0"/>
              <a:t> and </a:t>
            </a:r>
            <a:r>
              <a:rPr lang="en-US" sz="1500" u="sng" dirty="0"/>
              <a:t>pure-plunging</a:t>
            </a:r>
            <a:r>
              <a:rPr lang="en-US" sz="1500" dirty="0"/>
              <a:t> motions with a:</a:t>
            </a:r>
          </a:p>
          <a:p>
            <a:pPr marL="342891" indent="342891">
              <a:lnSpc>
                <a:spcPct val="125000"/>
              </a:lnSpc>
              <a:buFont typeface="+mj-lt"/>
              <a:buAutoNum type="alphaLcParenR"/>
            </a:pPr>
            <a:r>
              <a:rPr lang="en-US" sz="1500" dirty="0"/>
              <a:t>Rigidly attached propeller</a:t>
            </a:r>
          </a:p>
          <a:p>
            <a:pPr marL="342891" indent="342891">
              <a:lnSpc>
                <a:spcPct val="125000"/>
              </a:lnSpc>
              <a:buFont typeface="+mj-lt"/>
              <a:buAutoNum type="alphaLcParenR"/>
            </a:pPr>
            <a:r>
              <a:rPr lang="en-US" sz="1500" dirty="0"/>
              <a:t>Flexibly attached propeller</a:t>
            </a:r>
          </a:p>
          <a:p>
            <a:pPr marL="285744" indent="-285744">
              <a:lnSpc>
                <a:spcPct val="125000"/>
              </a:lnSpc>
              <a:buFont typeface="Wingdings" panose="05000000000000000000" pitchFamily="2" charset="2"/>
              <a:buChar char="§"/>
            </a:pPr>
            <a:r>
              <a:rPr lang="en-US" sz="1500" dirty="0"/>
              <a:t>To present the results of simulations performed on a </a:t>
            </a:r>
            <a:r>
              <a:rPr lang="en-US" sz="1500" u="sng" dirty="0"/>
              <a:t>flexible wing</a:t>
            </a:r>
            <a:r>
              <a:rPr lang="en-US" sz="1500" dirty="0"/>
              <a:t> with a rigidly attached propeller undergoing its 1</a:t>
            </a:r>
            <a:r>
              <a:rPr lang="en-US" sz="1500" baseline="30000" dirty="0"/>
              <a:t>st</a:t>
            </a:r>
            <a:r>
              <a:rPr lang="en-US" sz="1500" dirty="0"/>
              <a:t> natural </a:t>
            </a:r>
            <a:r>
              <a:rPr lang="en-US" sz="1500" u="sng" dirty="0"/>
              <a:t>bending</a:t>
            </a:r>
            <a:r>
              <a:rPr lang="en-US" sz="1500" dirty="0"/>
              <a:t> and </a:t>
            </a:r>
            <a:r>
              <a:rPr lang="en-US" sz="1500" u="sng" dirty="0"/>
              <a:t>torsional</a:t>
            </a:r>
            <a:r>
              <a:rPr lang="en-US" sz="1500" dirty="0"/>
              <a:t> wing modes.</a:t>
            </a:r>
          </a:p>
          <a:p>
            <a:pPr>
              <a:lnSpc>
                <a:spcPct val="125000"/>
              </a:lnSpc>
            </a:pPr>
            <a:endParaRPr lang="en-US" sz="1500" b="1" dirty="0"/>
          </a:p>
          <a:p>
            <a:pPr>
              <a:lnSpc>
                <a:spcPct val="125000"/>
              </a:lnSpc>
            </a:pPr>
            <a:r>
              <a:rPr lang="en-US" sz="1500" b="1" dirty="0">
                <a:solidFill>
                  <a:schemeClr val="accent3">
                    <a:lumMod val="75000"/>
                  </a:schemeClr>
                </a:solidFill>
              </a:rPr>
              <a:t>Secondary Objectives:</a:t>
            </a:r>
          </a:p>
          <a:p>
            <a:pPr marL="285744" indent="-285744">
              <a:lnSpc>
                <a:spcPct val="125000"/>
              </a:lnSpc>
              <a:buFont typeface="Wingdings" panose="05000000000000000000" pitchFamily="2" charset="2"/>
              <a:buChar char="§"/>
            </a:pPr>
            <a:r>
              <a:rPr lang="en-US" sz="1500" dirty="0"/>
              <a:t>To develop a tool in MATLAB using a novel framework that allows a user to assign </a:t>
            </a:r>
            <a:r>
              <a:rPr lang="en-US" sz="1500" u="sng" dirty="0"/>
              <a:t>prescribed motions </a:t>
            </a:r>
            <a:r>
              <a:rPr lang="en-US" sz="1500" dirty="0"/>
              <a:t>to a model.</a:t>
            </a:r>
          </a:p>
          <a:p>
            <a:pPr marL="285744" indent="-285744">
              <a:lnSpc>
                <a:spcPct val="125000"/>
              </a:lnSpc>
              <a:buFont typeface="Wingdings" panose="05000000000000000000" pitchFamily="2" charset="2"/>
              <a:buChar char="§"/>
            </a:pPr>
            <a:r>
              <a:rPr lang="en-US" sz="1500" dirty="0"/>
              <a:t>To couple the tool to an aerodynamic solver (DUST) using a coupling library (preCICE).</a:t>
            </a:r>
          </a:p>
        </p:txBody>
      </p:sp>
    </p:spTree>
    <p:extLst>
      <p:ext uri="{BB962C8B-B14F-4D97-AF65-F5344CB8AC3E}">
        <p14:creationId xmlns:p14="http://schemas.microsoft.com/office/powerpoint/2010/main" val="27331958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E1AF64-578A-3F75-71B7-E7BD502D6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damentals</a:t>
            </a:r>
            <a:endParaRPr lang="en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D307151D-F263-394D-F924-45A162A2DC29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317501" y="1129308"/>
                <a:ext cx="5410572" cy="4152280"/>
              </a:xfrm>
            </p:spPr>
            <p:txBody>
              <a:bodyPr/>
              <a:lstStyle/>
              <a:p>
                <a:pPr>
                  <a:lnSpc>
                    <a:spcPct val="125000"/>
                  </a:lnSpc>
                </a:pPr>
                <a:endParaRPr lang="en-US" sz="1400" b="1" dirty="0"/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r>
                  <a:rPr lang="en-US" sz="1400" b="1" dirty="0"/>
                  <a:t>Pitching motion</a:t>
                </a:r>
                <a:r>
                  <a:rPr lang="en-US" sz="1400" dirty="0"/>
                  <a:t>: Angular rotation of the wing about its lateral axis.</a:t>
                </a:r>
              </a:p>
              <a:p>
                <a:pPr>
                  <a:lnSpc>
                    <a:spcPct val="125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4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n-US" sz="1400" i="1">
                              <a:latin typeface="Cambria Math" panose="02040503050406030204" pitchFamily="18" charset="0"/>
                            </a:rPr>
                            <m:t>𝑊</m:t>
                          </m:r>
                        </m:sub>
                      </m:sSub>
                      <m:d>
                        <m:dPr>
                          <m:ctrlPr>
                            <a:rPr lang="en-US" sz="14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US" sz="1400" i="1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sz="14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sSub>
                            <m:sSubPr>
                              <m:ctrlPr>
                                <a:rPr lang="en-US" sz="140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  <m:t>𝑊</m:t>
                              </m:r>
                            </m:e>
                            <m:sub>
                              <m: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sub>
                          </m:sSub>
                        </m:sub>
                      </m:sSub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sSub>
                            <m:sSubPr>
                              <m:ctrlPr>
                                <a:rPr lang="en-US" sz="140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𝑊</m:t>
                              </m:r>
                            </m:e>
                            <m:sub>
                              <m:r>
                                <a:rPr lang="en-US" sz="14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𝑎𝑥</m:t>
                              </m:r>
                            </m:sub>
                          </m:sSub>
                        </m:sub>
                      </m:sSub>
                      <m:func>
                        <m:funcPr>
                          <m:ctrlPr>
                            <a:rPr lang="en-US" sz="1400" i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sz="1400">
                              <a:latin typeface="Cambria Math" panose="02040503050406030204" pitchFamily="18" charset="0"/>
                            </a:rPr>
                            <m:t>sin</m:t>
                          </m:r>
                        </m:fName>
                        <m:e>
                          <m:d>
                            <m:dPr>
                              <m:ctrlPr>
                                <a:rPr lang="en-US" sz="14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sz="14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𝜔</m:t>
                              </m:r>
                              <m:r>
                                <a:rPr lang="en-US" sz="14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en-US" sz="14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sSub>
                                <m:sSubPr>
                                  <m:ctrlPr>
                                    <a:rPr lang="en-US" sz="140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4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𝜑</m:t>
                                  </m:r>
                                </m:e>
                                <m:sub>
                                  <m:r>
                                    <a:rPr lang="en-US" sz="14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𝑊</m:t>
                                  </m:r>
                                </m:sub>
                              </m:sSub>
                            </m:e>
                          </m:d>
                        </m:e>
                      </m:func>
                    </m:oMath>
                  </m:oMathPara>
                </a14:m>
                <a:endParaRPr lang="en-US" sz="1400" dirty="0"/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endParaRPr lang="en-US" sz="1400" dirty="0"/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endParaRPr lang="en-US" sz="1400" dirty="0"/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endParaRPr lang="en-US" sz="1400" dirty="0"/>
              </a:p>
              <a:p>
                <a:pPr>
                  <a:lnSpc>
                    <a:spcPct val="125000"/>
                  </a:lnSpc>
                </a:pPr>
                <a:endParaRPr lang="en-US" sz="1400" dirty="0"/>
              </a:p>
              <a:p>
                <a:pPr>
                  <a:lnSpc>
                    <a:spcPct val="125000"/>
                  </a:lnSpc>
                </a:pPr>
                <a:endParaRPr lang="en-US" sz="1400" dirty="0"/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r>
                  <a:rPr lang="en-US" sz="1400" b="1" dirty="0"/>
                  <a:t>Plunging motion: </a:t>
                </a:r>
                <a:r>
                  <a:rPr lang="en-US" sz="1400" dirty="0"/>
                  <a:t>Vertical translation of the wing about its longitudinal axis.</a:t>
                </a:r>
              </a:p>
              <a:p>
                <a:pPr>
                  <a:lnSpc>
                    <a:spcPct val="125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</m:e>
                        <m:sub>
                          <m:r>
                            <a:rPr lang="en-US" sz="1400" i="1">
                              <a:latin typeface="Cambria Math" panose="02040503050406030204" pitchFamily="18" charset="0"/>
                            </a:rPr>
                            <m:t>𝑊</m:t>
                          </m:r>
                        </m:sub>
                      </m:sSub>
                      <m:d>
                        <m:dPr>
                          <m:ctrlPr>
                            <a:rPr lang="en-US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400" i="1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US" sz="1400" i="1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h</m:t>
                          </m:r>
                        </m:e>
                        <m:sub>
                          <m:sSub>
                            <m:sSubPr>
                              <m:ctrlPr>
                                <a:rPr lang="en-US" sz="140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𝑊</m:t>
                              </m:r>
                            </m:e>
                            <m:sub>
                              <m:r>
                                <a:rPr lang="en-US" sz="14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𝑎𝑥</m:t>
                              </m:r>
                            </m:sub>
                          </m:sSub>
                        </m:sub>
                      </m:sSub>
                      <m:func>
                        <m:funcPr>
                          <m:ctrlPr>
                            <a:rPr lang="en-US" sz="1400" i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sz="1400">
                              <a:latin typeface="Cambria Math" panose="02040503050406030204" pitchFamily="18" charset="0"/>
                            </a:rPr>
                            <m:t>sin</m:t>
                          </m:r>
                        </m:fName>
                        <m:e>
                          <m:d>
                            <m:dPr>
                              <m:ctrlPr>
                                <a:rPr lang="en-US" sz="14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sz="14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𝜔</m:t>
                              </m:r>
                              <m:r>
                                <a:rPr lang="en-US" sz="14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en-US" sz="14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sSub>
                                <m:sSubPr>
                                  <m:ctrlPr>
                                    <a:rPr lang="en-US" sz="14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4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𝜑</m:t>
                                  </m:r>
                                </m:e>
                                <m:sub>
                                  <m:r>
                                    <a:rPr lang="en-US" sz="14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𝑊</m:t>
                                  </m:r>
                                </m:sub>
                              </m:sSub>
                            </m:e>
                          </m:d>
                        </m:e>
                      </m:func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D307151D-F263-394D-F924-45A162A2DC29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17501" y="1129308"/>
                <a:ext cx="5410572" cy="4152280"/>
              </a:xfrm>
              <a:blipFill>
                <a:blip r:embed="rId6"/>
                <a:stretch>
                  <a:fillRect l="-1802" r="-2252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E2E678F-CE9C-039E-DE2B-BC59039C4B5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Simple Wing Motions</a:t>
            </a:r>
            <a:endParaRPr lang="en-DE" dirty="0"/>
          </a:p>
        </p:txBody>
      </p:sp>
      <p:pic>
        <p:nvPicPr>
          <p:cNvPr id="5" name="animation_harmonic_pitch (1)">
            <a:hlinkClick r:id="" action="ppaction://media"/>
            <a:extLst>
              <a:ext uri="{FF2B5EF4-FFF2-40B4-BE49-F238E27FC236}">
                <a16:creationId xmlns:a16="http://schemas.microsoft.com/office/drawing/2014/main" id="{D4200299-6DAE-C394-5448-66E132F692BA}"/>
              </a:ext>
            </a:extLst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2">
                  <p14:trim st="2614" end="758"/>
                </p14:media>
              </p:ext>
            </p:extLst>
          </p:nvPr>
        </p:nvPicPr>
        <p:blipFill rotWithShape="1">
          <a:blip r:embed="rId7">
            <a:lum contrast="20000"/>
          </a:blip>
          <a:srcRect l="32317" t="34977" r="34051" b="34970"/>
          <a:stretch/>
        </p:blipFill>
        <p:spPr>
          <a:xfrm>
            <a:off x="5858343" y="1082513"/>
            <a:ext cx="3627886" cy="147434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" name="animation_harmonic_plunge">
            <a:hlinkClick r:id="" action="ppaction://media"/>
            <a:extLst>
              <a:ext uri="{FF2B5EF4-FFF2-40B4-BE49-F238E27FC236}">
                <a16:creationId xmlns:a16="http://schemas.microsoft.com/office/drawing/2014/main" id="{338F811F-D098-B74B-1715-152B383A76C1}"/>
              </a:ext>
            </a:extLst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3">
                  <p14:trim st="2697" end="662"/>
                </p14:media>
              </p:ext>
            </p:extLst>
          </p:nvPr>
        </p:nvPicPr>
        <p:blipFill rotWithShape="1">
          <a:blip r:embed="rId8">
            <a:lum contrast="20000"/>
          </a:blip>
          <a:srcRect l="29830" t="30454" r="24211" b="30841"/>
          <a:stretch/>
        </p:blipFill>
        <p:spPr>
          <a:xfrm>
            <a:off x="5858347" y="3158138"/>
            <a:ext cx="3627886" cy="147434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C00F159-63EB-61E6-C11A-34ABB29BBFD9}"/>
              </a:ext>
            </a:extLst>
          </p:cNvPr>
          <p:cNvSpPr txBox="1"/>
          <p:nvPr/>
        </p:nvSpPr>
        <p:spPr>
          <a:xfrm>
            <a:off x="6448152" y="2580503"/>
            <a:ext cx="24482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algn="ctr">
              <a:buFont typeface="+mj-lt"/>
              <a:buAutoNum type="alphaLcParenR"/>
            </a:pPr>
            <a:r>
              <a:rPr lang="en-US" sz="800" b="1" dirty="0">
                <a:latin typeface="+mn-lt"/>
              </a:rPr>
              <a:t>Pure pitching motion</a:t>
            </a:r>
            <a:endParaRPr lang="en-DE" sz="800" b="1" dirty="0">
              <a:latin typeface="+mn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C0FC9ED-F709-0A27-BC82-D951170DC94D}"/>
              </a:ext>
            </a:extLst>
          </p:cNvPr>
          <p:cNvSpPr txBox="1"/>
          <p:nvPr/>
        </p:nvSpPr>
        <p:spPr>
          <a:xfrm>
            <a:off x="6448152" y="4650996"/>
            <a:ext cx="24482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algn="ctr">
              <a:buFont typeface="+mj-lt"/>
              <a:buAutoNum type="alphaLcParenR" startAt="2"/>
            </a:pPr>
            <a:r>
              <a:rPr lang="en-US" sz="800" b="1" dirty="0">
                <a:latin typeface="+mn-lt"/>
              </a:rPr>
              <a:t>Pure plunging motion</a:t>
            </a:r>
            <a:endParaRPr lang="en-DE" sz="8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132864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2628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22" dur="264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27" repeatCount="indefinite" fill="remove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video>
              <p:cMediaNode vol="80000">
                <p:cTn id="28" repeatCount="indefinite" fill="remove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  <p:bldLst>
      <p:bldP spid="7" grpId="0"/>
      <p:bldP spid="9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E1AF64-578A-3F75-71B7-E7BD502D6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damentals</a:t>
            </a:r>
            <a:endParaRPr lang="en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D307151D-F263-394D-F924-45A162A2DC29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268283" y="1197703"/>
                <a:ext cx="5266555" cy="4342328"/>
              </a:xfrm>
            </p:spPr>
            <p:txBody>
              <a:bodyPr/>
              <a:lstStyle/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r>
                  <a:rPr lang="en-US" sz="1400" b="1" u="sng" dirty="0"/>
                  <a:t>Eigenmotions</a:t>
                </a:r>
                <a:r>
                  <a:rPr lang="en-US" sz="1400" dirty="0"/>
                  <a:t> describe the intrinsic oscillatory </a:t>
                </a:r>
                <a:r>
                  <a:rPr lang="en-GB" sz="1400" dirty="0"/>
                  <a:t>behaviours</a:t>
                </a:r>
                <a:r>
                  <a:rPr lang="en-US" sz="1400" dirty="0"/>
                  <a:t> of the wing, which arise due to the interaction between the wing’s elastic structure and the aerodynamic forces acting upon it.</a:t>
                </a:r>
              </a:p>
              <a:p>
                <a:pPr>
                  <a:lnSpc>
                    <a:spcPct val="125000"/>
                  </a:lnSpc>
                </a:pPr>
                <a:endParaRPr lang="en-US" sz="1400" b="1" dirty="0"/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r>
                  <a:rPr lang="en-US" sz="1400" b="1" dirty="0"/>
                  <a:t>Eigenvalues (</a:t>
                </a:r>
                <a14:m>
                  <m:oMath xmlns:m="http://schemas.openxmlformats.org/officeDocument/2006/math">
                    <m:r>
                      <a:rPr lang="en-GB" sz="1400" b="1" i="1" smtClean="0">
                        <a:latin typeface="Cambria Math" panose="02040503050406030204" pitchFamily="18" charset="0"/>
                      </a:rPr>
                      <m:t>𝝀</m:t>
                    </m:r>
                  </m:oMath>
                </a14:m>
                <a:r>
                  <a:rPr lang="en-US" sz="1400" b="1" dirty="0"/>
                  <a:t>)</a:t>
                </a:r>
                <a:r>
                  <a:rPr lang="en-US" sz="1400" dirty="0"/>
                  <a:t>: </a:t>
                </a:r>
                <a:r>
                  <a:rPr lang="en-GB" sz="1400" dirty="0"/>
                  <a:t>Natural frequencies at which the system (the wing) vibrates when subjected to external disturbances</a:t>
                </a:r>
                <a:r>
                  <a:rPr lang="en-US" sz="1400" dirty="0"/>
                  <a:t>.</a:t>
                </a:r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r>
                  <a:rPr lang="en-US" sz="1400" b="1" dirty="0"/>
                  <a:t>Eigenvectors (</a:t>
                </a:r>
                <a14:m>
                  <m:oMath xmlns:m="http://schemas.openxmlformats.org/officeDocument/2006/math">
                    <m:r>
                      <a:rPr lang="en-GB" sz="1400" b="1" i="1" smtClean="0">
                        <a:latin typeface="Cambria Math" panose="02040503050406030204" pitchFamily="18" charset="0"/>
                      </a:rPr>
                      <m:t>𝝓</m:t>
                    </m:r>
                  </m:oMath>
                </a14:m>
                <a:r>
                  <a:rPr lang="en-US" sz="1400" b="1" dirty="0"/>
                  <a:t>): </a:t>
                </a:r>
                <a:r>
                  <a:rPr lang="en-GB" sz="1400" dirty="0"/>
                  <a:t>Pattern of deformation for each corresponding eigenvalue.</a:t>
                </a:r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endParaRPr lang="en-US" sz="1400" dirty="0"/>
              </a:p>
              <a:p>
                <a:pPr marL="285744" lvl="0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  <a:defRPr/>
                </a:pPr>
                <a:r>
                  <a:rPr lang="en-GB" sz="1400" dirty="0">
                    <a:solidFill>
                      <a:prstClr val="black"/>
                    </a:solidFill>
                  </a:rPr>
                  <a:t>MDoF dynamic motion of equation:</a:t>
                </a:r>
                <a:endParaRPr lang="en-US" sz="1400" dirty="0">
                  <a:solidFill>
                    <a:prstClr val="black"/>
                  </a:solidFill>
                </a:endParaRPr>
              </a:p>
              <a:p>
                <a:pPr marL="285744" lvl="0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  <a:defRPr/>
                </a:pPr>
                <a:endParaRPr lang="en-US" sz="1400" dirty="0">
                  <a:solidFill>
                    <a:prstClr val="black"/>
                  </a:solidFill>
                </a:endParaRPr>
              </a:p>
              <a:p>
                <a:pPr marL="285744" lvl="0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  <a:defRPr/>
                </a:pPr>
                <a:r>
                  <a:rPr lang="en-US" sz="1400" dirty="0">
                    <a:solidFill>
                      <a:prstClr val="black"/>
                    </a:solidFill>
                  </a:rPr>
                  <a:t>Initial assumed solution:</a:t>
                </a:r>
              </a:p>
              <a:p>
                <a:pPr marL="285744" indent="-285744">
                  <a:lnSpc>
                    <a:spcPct val="125000"/>
                  </a:lnSpc>
                  <a:buFont typeface="Wingdings" panose="05000000000000000000" pitchFamily="2" charset="2"/>
                  <a:buChar char="§"/>
                </a:pPr>
                <a:endParaRPr lang="en-US" sz="1500" dirty="0"/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D307151D-F263-394D-F924-45A162A2DC29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268283" y="1197703"/>
                <a:ext cx="5266555" cy="4342328"/>
              </a:xfrm>
              <a:blipFill>
                <a:blip r:embed="rId10"/>
                <a:stretch>
                  <a:fillRect l="-1852" t="-701" r="-3125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E2E678F-CE9C-039E-DE2B-BC59039C4B5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Complex Wing Modes</a:t>
            </a:r>
            <a:endParaRPr lang="en-D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C00F159-63EB-61E6-C11A-34ABB29BBFD9}"/>
              </a:ext>
            </a:extLst>
          </p:cNvPr>
          <p:cNvSpPr txBox="1"/>
          <p:nvPr/>
        </p:nvSpPr>
        <p:spPr>
          <a:xfrm>
            <a:off x="5396640" y="2583967"/>
            <a:ext cx="24482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algn="ctr">
              <a:buFont typeface="+mj-lt"/>
              <a:buAutoNum type="alphaLcParenR"/>
            </a:pPr>
            <a:r>
              <a:rPr lang="en-US" sz="800" b="1" dirty="0">
                <a:latin typeface="+mn-lt"/>
              </a:rPr>
              <a:t>Bending dominated</a:t>
            </a:r>
            <a:endParaRPr lang="en-DE" sz="800" b="1" dirty="0">
              <a:latin typeface="+mn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C0FC9ED-F709-0A27-BC82-D951170DC94D}"/>
              </a:ext>
            </a:extLst>
          </p:cNvPr>
          <p:cNvSpPr txBox="1"/>
          <p:nvPr/>
        </p:nvSpPr>
        <p:spPr>
          <a:xfrm>
            <a:off x="7568599" y="2584288"/>
            <a:ext cx="24482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algn="ctr">
              <a:buFont typeface="+mj-lt"/>
              <a:buAutoNum type="alphaLcParenR" startAt="2"/>
            </a:pPr>
            <a:r>
              <a:rPr lang="en-US" sz="800" b="1" dirty="0">
                <a:latin typeface="+mn-lt"/>
              </a:rPr>
              <a:t>Torsional dominated</a:t>
            </a:r>
            <a:endParaRPr lang="en-DE" sz="800" b="1" dirty="0">
              <a:latin typeface="+mn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0E97014-A597-0381-0699-A760DB1977CD}"/>
              </a:ext>
            </a:extLst>
          </p:cNvPr>
          <p:cNvSpPr txBox="1"/>
          <p:nvPr/>
        </p:nvSpPr>
        <p:spPr>
          <a:xfrm>
            <a:off x="5425116" y="4257144"/>
            <a:ext cx="24482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algn="ctr">
              <a:buFont typeface="+mj-lt"/>
              <a:buAutoNum type="alphaLcParenR" startAt="3"/>
            </a:pPr>
            <a:r>
              <a:rPr lang="en-US" sz="800" b="1" dirty="0">
                <a:latin typeface="+mn-lt"/>
              </a:rPr>
              <a:t>Bending-Torsion dominated</a:t>
            </a:r>
            <a:endParaRPr lang="en-DE" sz="800" b="1" dirty="0">
              <a:latin typeface="+mn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20ABB2B-2F51-5C28-67AB-CF561EE0DCA3}"/>
              </a:ext>
            </a:extLst>
          </p:cNvPr>
          <p:cNvSpPr txBox="1"/>
          <p:nvPr/>
        </p:nvSpPr>
        <p:spPr>
          <a:xfrm>
            <a:off x="7568599" y="4254349"/>
            <a:ext cx="24482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algn="ctr">
              <a:buFont typeface="+mj-lt"/>
              <a:buAutoNum type="alphaLcParenR" startAt="4"/>
            </a:pPr>
            <a:r>
              <a:rPr lang="en-US" sz="800" b="1" dirty="0">
                <a:latin typeface="+mn-lt"/>
              </a:rPr>
              <a:t>Bending-Torsion dominated</a:t>
            </a:r>
            <a:endParaRPr lang="en-DE" sz="800" b="1" dirty="0">
              <a:latin typeface="+mn-lt"/>
            </a:endParaRPr>
          </a:p>
        </p:txBody>
      </p:sp>
      <p:pic>
        <p:nvPicPr>
          <p:cNvPr id="6" name="mode1_2">
            <a:hlinkClick r:id="" action="ppaction://media"/>
            <a:extLst>
              <a:ext uri="{FF2B5EF4-FFF2-40B4-BE49-F238E27FC236}">
                <a16:creationId xmlns:a16="http://schemas.microsoft.com/office/drawing/2014/main" id="{B82E27C0-3971-5A3D-CEE4-B742F10CD24D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1">
            <a:lum contrast="20000"/>
          </a:blip>
          <a:stretch>
            <a:fillRect/>
          </a:stretch>
        </p:blipFill>
        <p:spPr>
          <a:xfrm>
            <a:off x="5644418" y="1424921"/>
            <a:ext cx="2007837" cy="1126585"/>
          </a:xfrm>
          <a:prstGeom prst="rect">
            <a:avLst/>
          </a:prstGeom>
        </p:spPr>
      </p:pic>
      <p:pic>
        <p:nvPicPr>
          <p:cNvPr id="10" name="mode2_2">
            <a:hlinkClick r:id="" action="ppaction://media"/>
            <a:extLst>
              <a:ext uri="{FF2B5EF4-FFF2-40B4-BE49-F238E27FC236}">
                <a16:creationId xmlns:a16="http://schemas.microsoft.com/office/drawing/2014/main" id="{567504BF-0A5D-768F-BAE4-C243BA1B2F83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2">
            <a:lum contrast="20000"/>
          </a:blip>
          <a:stretch>
            <a:fillRect/>
          </a:stretch>
        </p:blipFill>
        <p:spPr>
          <a:xfrm>
            <a:off x="7812885" y="1416355"/>
            <a:ext cx="2007839" cy="1126586"/>
          </a:xfrm>
          <a:prstGeom prst="rect">
            <a:avLst/>
          </a:prstGeom>
        </p:spPr>
      </p:pic>
      <p:pic>
        <p:nvPicPr>
          <p:cNvPr id="17" name="mode3_2">
            <a:hlinkClick r:id="" action="ppaction://media"/>
            <a:extLst>
              <a:ext uri="{FF2B5EF4-FFF2-40B4-BE49-F238E27FC236}">
                <a16:creationId xmlns:a16="http://schemas.microsoft.com/office/drawing/2014/main" id="{B17F472C-9430-BA1A-D986-1C12985F3726}"/>
              </a:ext>
            </a:extLst>
          </p:cNvPr>
          <p:cNvPicPr>
            <a:picLocks noChangeAspect="1"/>
          </p:cNvPicPr>
          <p:nvPr>
            <a:vide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3">
            <a:lum contrast="20000"/>
          </a:blip>
          <a:stretch>
            <a:fillRect/>
          </a:stretch>
        </p:blipFill>
        <p:spPr>
          <a:xfrm>
            <a:off x="5650235" y="3091309"/>
            <a:ext cx="2002020" cy="1123321"/>
          </a:xfrm>
          <a:prstGeom prst="rect">
            <a:avLst/>
          </a:prstGeom>
        </p:spPr>
      </p:pic>
      <p:pic>
        <p:nvPicPr>
          <p:cNvPr id="18" name="mode4_2">
            <a:hlinkClick r:id="" action="ppaction://media"/>
            <a:extLst>
              <a:ext uri="{FF2B5EF4-FFF2-40B4-BE49-F238E27FC236}">
                <a16:creationId xmlns:a16="http://schemas.microsoft.com/office/drawing/2014/main" id="{52C0B176-E27B-85AA-D32A-EFCF48CE395B}"/>
              </a:ext>
            </a:extLst>
          </p:cNvPr>
          <p:cNvPicPr>
            <a:picLocks noChangeAspect="1"/>
          </p:cNvPicPr>
          <p:nvPr>
            <a:videoFile r:link="rId8"/>
            <p:extLst>
              <p:ext uri="{DAA4B4D4-6D71-4841-9C94-3DE7FCFB9230}">
                <p14:media xmlns:p14="http://schemas.microsoft.com/office/powerpoint/2010/main" r:embed="rId7"/>
              </p:ext>
            </p:extLst>
          </p:nvPr>
        </p:nvPicPr>
        <p:blipFill>
          <a:blip r:embed="rId14">
            <a:lum contrast="20000"/>
          </a:blip>
          <a:stretch>
            <a:fillRect/>
          </a:stretch>
        </p:blipFill>
        <p:spPr>
          <a:xfrm>
            <a:off x="7812885" y="3091883"/>
            <a:ext cx="2007841" cy="1126587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B18D47F7-73EF-DE63-6A99-D4048BD19F5D}"/>
                  </a:ext>
                </a:extLst>
              </p:cNvPr>
              <p:cNvSpPr txBox="1"/>
              <p:nvPr/>
            </p:nvSpPr>
            <p:spPr>
              <a:xfrm>
                <a:off x="1461399" y="4913607"/>
                <a:ext cx="2880320" cy="31784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𝑞</m:t>
                      </m:r>
                      <m:d>
                        <m:dPr>
                          <m:ctrlPr>
                            <a:rPr lang="en-DE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GB" sz="1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en-GB" sz="1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𝜙</m:t>
                      </m:r>
                      <m:sSup>
                        <m:sSupPr>
                          <m:ctrlPr>
                            <a:rPr lang="en-DE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GB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r>
                            <a:rPr lang="en-GB" sz="1400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𝜆</m:t>
                          </m:r>
                          <m:r>
                            <a:rPr lang="en-GB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sup>
                      </m:sSup>
                    </m:oMath>
                  </m:oMathPara>
                </a14:m>
                <a:endParaRPr lang="en-GB" sz="1400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B18D47F7-73EF-DE63-6A99-D4048BD19F5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61399" y="4913607"/>
                <a:ext cx="2880320" cy="317844"/>
              </a:xfrm>
              <a:prstGeom prst="rect">
                <a:avLst/>
              </a:prstGeom>
              <a:blipFill>
                <a:blip r:embed="rId15"/>
                <a:stretch>
                  <a:fillRect b="-9615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CFF6B04D-D466-6F6F-E1C6-3589E2DD1BCF}"/>
                  </a:ext>
                </a:extLst>
              </p:cNvPr>
              <p:cNvSpPr txBox="1"/>
              <p:nvPr/>
            </p:nvSpPr>
            <p:spPr>
              <a:xfrm>
                <a:off x="1693152" y="4409575"/>
                <a:ext cx="2416815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𝑀</m:t>
                      </m:r>
                      <m:acc>
                        <m:accPr>
                          <m:chr m:val="̈"/>
                          <m:ctrlPr>
                            <a:rPr lang="en-DE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GB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𝑞</m:t>
                          </m:r>
                        </m:e>
                      </m:acc>
                      <m:d>
                        <m:dPr>
                          <m:ctrlPr>
                            <a:rPr lang="en-DE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GB" sz="1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a:rPr lang="en-GB" sz="1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𝐶</m:t>
                      </m:r>
                      <m:acc>
                        <m:accPr>
                          <m:chr m:val="̇"/>
                          <m:ctrlPr>
                            <a:rPr lang="en-DE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GB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𝑞</m:t>
                          </m:r>
                        </m:e>
                      </m:acc>
                      <m:d>
                        <m:dPr>
                          <m:ctrlPr>
                            <a:rPr lang="en-DE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GB" sz="1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a:rPr lang="en-GB" sz="1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𝐾𝑞</m:t>
                      </m:r>
                      <m:d>
                        <m:dPr>
                          <m:ctrlPr>
                            <a:rPr lang="en-DE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GB" sz="1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en-GB" sz="1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𝐹</m:t>
                      </m:r>
                      <m:d>
                        <m:dPr>
                          <m:ctrlPr>
                            <a:rPr lang="en-DE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</m:oMath>
                  </m:oMathPara>
                </a14:m>
                <a:endParaRPr lang="en-GB" sz="1400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CFF6B04D-D466-6F6F-E1C6-3589E2DD1BC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93152" y="4409575"/>
                <a:ext cx="2416815" cy="215444"/>
              </a:xfrm>
              <a:prstGeom prst="rect">
                <a:avLst/>
              </a:prstGeom>
              <a:blipFill>
                <a:blip r:embed="rId16"/>
                <a:stretch>
                  <a:fillRect l="-1263" b="-30556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2893538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34" dur="1266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3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36" dur="1266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48" dur="1266" fill="hold"/>
                                        <p:tgtEl>
                                          <p:spTgt spid="1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49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50" dur="1266" fill="hold"/>
                                        <p:tgtEl>
                                          <p:spTgt spid="1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51" repeatCount="indefinite" fill="remove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video>
              <p:cMediaNode vol="80000">
                <p:cTn id="52" repeatCount="indefinite" fill="remove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  <p:video>
              <p:cMediaNode vol="80000">
                <p:cTn id="53" repeatCount="indefinite" fill="remove" display="0">
                  <p:stCondLst>
                    <p:cond delay="indefinite"/>
                  </p:stCondLst>
                </p:cTn>
                <p:tgtEl>
                  <p:spTgt spid="17"/>
                </p:tgtEl>
              </p:cMediaNode>
            </p:video>
            <p:video>
              <p:cMediaNode vol="80000">
                <p:cTn id="54" repeatCount="indefinite" fill="remove" display="0">
                  <p:stCondLst>
                    <p:cond delay="indefinite"/>
                  </p:stCondLst>
                </p:cTn>
                <p:tgtEl>
                  <p:spTgt spid="18"/>
                </p:tgtEl>
              </p:cMediaNode>
            </p:video>
          </p:childTnLst>
        </p:cTn>
      </p:par>
    </p:tnLst>
    <p:bldLst>
      <p:bldP spid="7" grpId="0"/>
      <p:bldP spid="9" grpId="0"/>
      <p:bldP spid="15" grpId="0"/>
      <p:bldP spid="16" grpId="0"/>
      <p:bldP spid="5" grpId="0"/>
      <p:bldP spid="1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E1AF64-578A-3F75-71B7-E7BD502D6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damentals</a:t>
            </a:r>
            <a:endParaRPr lang="en-DE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D307151D-F263-394D-F924-45A162A2DC29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317501" y="1129308"/>
                <a:ext cx="4642539" cy="4152280"/>
              </a:xfrm>
            </p:spPr>
            <p:txBody>
              <a:bodyPr/>
              <a:lstStyle/>
              <a:p>
                <a:pPr marL="285744" indent="-285744">
                  <a:lnSpc>
                    <a:spcPct val="135000"/>
                  </a:lnSpc>
                  <a:buFont typeface="Wingdings" panose="05000000000000000000" pitchFamily="2" charset="2"/>
                  <a:buChar char="§"/>
                </a:pPr>
                <a:endParaRPr lang="en-US" sz="1400" u="sng" dirty="0"/>
              </a:p>
              <a:p>
                <a:pPr marL="285744" indent="-285744">
                  <a:lnSpc>
                    <a:spcPct val="135000"/>
                  </a:lnSpc>
                  <a:buFont typeface="Wingdings" panose="05000000000000000000" pitchFamily="2" charset="2"/>
                  <a:buChar char="§"/>
                </a:pPr>
                <a:endParaRPr lang="en-US" sz="1400" u="sng" dirty="0"/>
              </a:p>
              <a:p>
                <a:pPr marL="285744" indent="-285744">
                  <a:lnSpc>
                    <a:spcPct val="135000"/>
                  </a:lnSpc>
                  <a:buFont typeface="Wingdings" panose="05000000000000000000" pitchFamily="2" charset="2"/>
                  <a:buChar char="§"/>
                </a:pPr>
                <a:r>
                  <a:rPr lang="en-US" sz="1400" u="sng" dirty="0"/>
                  <a:t>Oscillatory</a:t>
                </a:r>
                <a:r>
                  <a:rPr lang="en-US" sz="1400" dirty="0"/>
                  <a:t> motion input results in an </a:t>
                </a:r>
                <a:r>
                  <a:rPr lang="en-US" sz="1400" u="sng" dirty="0"/>
                  <a:t>oscillatory</a:t>
                </a:r>
                <a:r>
                  <a:rPr lang="en-US" sz="1400" dirty="0"/>
                  <a:t> force output along with a </a:t>
                </a:r>
                <a:r>
                  <a:rPr lang="en-US" sz="1400" u="sng" dirty="0"/>
                  <a:t>phase shift</a:t>
                </a:r>
                <a:r>
                  <a:rPr lang="en-US" sz="1400" dirty="0"/>
                  <a:t>.</a:t>
                </a:r>
              </a:p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DE" sz="1400" i="1"/>
                          </m:ctrlPr>
                        </m:sSubPr>
                        <m:e>
                          <m:r>
                            <a:rPr lang="en-GB" sz="1400" i="1"/>
                            <m:t>𝐶</m:t>
                          </m:r>
                        </m:e>
                        <m:sub>
                          <m:r>
                            <a:rPr lang="en-GB" sz="1400" i="1"/>
                            <m:t>𝐿</m:t>
                          </m:r>
                        </m:sub>
                      </m:sSub>
                      <m:d>
                        <m:dPr>
                          <m:ctrlPr>
                            <a:rPr lang="en-DE" sz="1400" i="1"/>
                          </m:ctrlPr>
                        </m:dPr>
                        <m:e>
                          <m:r>
                            <a:rPr lang="en-GB" sz="1400" i="1"/>
                            <m:t>𝑡</m:t>
                          </m:r>
                        </m:e>
                      </m:d>
                      <m:r>
                        <a:rPr lang="en-GB" sz="1400" i="1"/>
                        <m:t>=</m:t>
                      </m:r>
                      <m:sSub>
                        <m:sSubPr>
                          <m:ctrlPr>
                            <a:rPr lang="en-DE" sz="1400" i="1"/>
                          </m:ctrlPr>
                        </m:sSubPr>
                        <m:e>
                          <m:r>
                            <a:rPr lang="en-GB" sz="1400" i="1"/>
                            <m:t>𝐶</m:t>
                          </m:r>
                        </m:e>
                        <m:sub>
                          <m:sSub>
                            <m:sSubPr>
                              <m:ctrlPr>
                                <a:rPr lang="en-DE" sz="1400" i="1"/>
                              </m:ctrlPr>
                            </m:sSubPr>
                            <m:e>
                              <m:r>
                                <a:rPr lang="en-GB" sz="1400" i="1"/>
                                <m:t>𝐿</m:t>
                              </m:r>
                            </m:e>
                            <m:sub>
                              <m:r>
                                <a:rPr lang="en-GB" sz="1400" i="1"/>
                                <m:t>𝑀𝑎𝑥</m:t>
                              </m:r>
                            </m:sub>
                          </m:sSub>
                        </m:sub>
                      </m:sSub>
                      <m:func>
                        <m:funcPr>
                          <m:ctrlPr>
                            <a:rPr lang="en-DE" sz="1400" i="1"/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GB" sz="1400"/>
                            <m:t>sin</m:t>
                          </m:r>
                        </m:fName>
                        <m:e>
                          <m:d>
                            <m:dPr>
                              <m:ctrlPr>
                                <a:rPr lang="en-DE" sz="1400" i="1"/>
                              </m:ctrlPr>
                            </m:dPr>
                            <m:e>
                              <m:r>
                                <a:rPr lang="en-GB" sz="1400" i="1"/>
                                <m:t>𝜔</m:t>
                              </m:r>
                              <m:r>
                                <a:rPr lang="en-GB" sz="1400" i="1"/>
                                <m:t>𝑡</m:t>
                              </m:r>
                              <m:r>
                                <a:rPr lang="en-GB" sz="1400" i="1"/>
                                <m:t>+</m:t>
                              </m:r>
                              <m:sSub>
                                <m:sSubPr>
                                  <m:ctrlPr>
                                    <a:rPr lang="en-DE" sz="1400" i="1"/>
                                  </m:ctrlPr>
                                </m:sSubPr>
                                <m:e>
                                  <m:r>
                                    <a:rPr lang="en-GB" sz="1400" i="1"/>
                                    <m:t>𝜓</m:t>
                                  </m:r>
                                </m:e>
                                <m:sub>
                                  <m:r>
                                    <a:rPr lang="en-GB" sz="1400" i="1"/>
                                    <m:t>𝐿</m:t>
                                  </m:r>
                                </m:sub>
                              </m:sSub>
                            </m:e>
                          </m:d>
                        </m:e>
                      </m:func>
                    </m:oMath>
                  </m:oMathPara>
                </a14:m>
                <a:endParaRPr lang="en-DE" sz="1400" dirty="0"/>
              </a:p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DE" sz="1400" i="1"/>
                          </m:ctrlPr>
                        </m:sSubPr>
                        <m:e>
                          <m:r>
                            <a:rPr lang="en-GB" sz="1400" i="1"/>
                            <m:t>𝐶</m:t>
                          </m:r>
                        </m:e>
                        <m:sub>
                          <m:r>
                            <a:rPr lang="en-GB" sz="1400" i="1"/>
                            <m:t>𝑀</m:t>
                          </m:r>
                        </m:sub>
                      </m:sSub>
                      <m:d>
                        <m:dPr>
                          <m:ctrlPr>
                            <a:rPr lang="en-DE" sz="1400" i="1"/>
                          </m:ctrlPr>
                        </m:dPr>
                        <m:e>
                          <m:r>
                            <a:rPr lang="en-GB" sz="1400" i="1"/>
                            <m:t>𝑡</m:t>
                          </m:r>
                        </m:e>
                      </m:d>
                      <m:r>
                        <a:rPr lang="en-GB" sz="1400" i="1"/>
                        <m:t>=</m:t>
                      </m:r>
                      <m:sSub>
                        <m:sSubPr>
                          <m:ctrlPr>
                            <a:rPr lang="en-DE" sz="1400" i="1"/>
                          </m:ctrlPr>
                        </m:sSubPr>
                        <m:e>
                          <m:r>
                            <a:rPr lang="en-GB" sz="1400" i="1"/>
                            <m:t>𝐶</m:t>
                          </m:r>
                        </m:e>
                        <m:sub>
                          <m:sSub>
                            <m:sSubPr>
                              <m:ctrlPr>
                                <a:rPr lang="en-DE" sz="1400" i="1"/>
                              </m:ctrlPr>
                            </m:sSubPr>
                            <m:e>
                              <m:r>
                                <a:rPr lang="en-GB" sz="1400" i="1"/>
                                <m:t>𝑀</m:t>
                              </m:r>
                            </m:e>
                            <m:sub>
                              <m:r>
                                <a:rPr lang="en-GB" sz="1400" i="1"/>
                                <m:t>𝑀𝑎𝑥</m:t>
                              </m:r>
                            </m:sub>
                          </m:sSub>
                        </m:sub>
                      </m:sSub>
                      <m:func>
                        <m:funcPr>
                          <m:ctrlPr>
                            <a:rPr lang="en-DE" sz="1400" i="1"/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GB" sz="1400"/>
                            <m:t>sin</m:t>
                          </m:r>
                        </m:fName>
                        <m:e>
                          <m:d>
                            <m:dPr>
                              <m:ctrlPr>
                                <a:rPr lang="en-DE" sz="1400" i="1"/>
                              </m:ctrlPr>
                            </m:dPr>
                            <m:e>
                              <m:r>
                                <a:rPr lang="en-GB" sz="1400" i="1"/>
                                <m:t>𝜔</m:t>
                              </m:r>
                              <m:r>
                                <a:rPr lang="en-GB" sz="1400" i="1"/>
                                <m:t>𝑡</m:t>
                              </m:r>
                              <m:r>
                                <a:rPr lang="en-GB" sz="1400" i="1"/>
                                <m:t>+</m:t>
                              </m:r>
                              <m:sSub>
                                <m:sSubPr>
                                  <m:ctrlPr>
                                    <a:rPr lang="en-DE" sz="1400" i="1"/>
                                  </m:ctrlPr>
                                </m:sSubPr>
                                <m:e>
                                  <m:r>
                                    <a:rPr lang="en-GB" sz="1400" i="1"/>
                                    <m:t>𝜓</m:t>
                                  </m:r>
                                </m:e>
                                <m:sub>
                                  <m:r>
                                    <a:rPr lang="en-GB" sz="1400" i="1"/>
                                    <m:t>𝑀</m:t>
                                  </m:r>
                                </m:sub>
                              </m:sSub>
                            </m:e>
                          </m:d>
                        </m:e>
                      </m:func>
                    </m:oMath>
                  </m:oMathPara>
                </a14:m>
                <a:endParaRPr lang="en-US" sz="1400" dirty="0"/>
              </a:p>
              <a:p>
                <a:pPr marL="285744" indent="-285744">
                  <a:lnSpc>
                    <a:spcPct val="135000"/>
                  </a:lnSpc>
                  <a:buFont typeface="Wingdings" panose="05000000000000000000" pitchFamily="2" charset="2"/>
                  <a:buChar char="§"/>
                </a:pPr>
                <a:endParaRPr lang="en-US" sz="1400" dirty="0"/>
              </a:p>
              <a:p>
                <a:pPr marL="285744" lvl="0" indent="-285744">
                  <a:lnSpc>
                    <a:spcPct val="135000"/>
                  </a:lnSpc>
                  <a:buFont typeface="Wingdings" panose="05000000000000000000" pitchFamily="2" charset="2"/>
                  <a:buChar char="§"/>
                </a:pPr>
                <a:r>
                  <a:rPr lang="en-US" sz="1400" dirty="0">
                    <a:solidFill>
                      <a:prstClr val="black"/>
                    </a:solidFill>
                  </a:rPr>
                  <a:t>Transfer functions are a way of describing the frequency and phase response of a LTI (linear time invariant) system.</a:t>
                </a:r>
              </a:p>
              <a:p>
                <a:pPr marL="285744" lvl="0" indent="-285744">
                  <a:lnSpc>
                    <a:spcPct val="135000"/>
                  </a:lnSpc>
                  <a:buFont typeface="Wingdings" panose="05000000000000000000" pitchFamily="2" charset="2"/>
                  <a:buChar char="§"/>
                </a:pPr>
                <a:endParaRPr lang="en-US" sz="1400" dirty="0">
                  <a:solidFill>
                    <a:prstClr val="black"/>
                  </a:solidFill>
                </a:endParaRPr>
              </a:p>
              <a:p>
                <a:pPr marL="285744" lvl="0" indent="-285744">
                  <a:lnSpc>
                    <a:spcPct val="135000"/>
                  </a:lnSpc>
                  <a:buFont typeface="Wingdings" panose="05000000000000000000" pitchFamily="2" charset="2"/>
                  <a:buChar char="§"/>
                </a:pPr>
                <a:r>
                  <a:rPr lang="en-US" sz="1400" dirty="0">
                    <a:solidFill>
                      <a:prstClr val="black"/>
                    </a:solidFill>
                    <a:latin typeface="Verdana"/>
                  </a:rPr>
                  <a:t>The FFT function in MATLAB computes the Discrete Fourier Transforms (DFTs) of a signal.</a:t>
                </a:r>
                <a:endParaRPr lang="en-US" sz="1400" dirty="0">
                  <a:solidFill>
                    <a:prstClr val="black"/>
                  </a:solidFill>
                </a:endParaRPr>
              </a:p>
              <a:p>
                <a:pPr marL="285744" indent="-285744">
                  <a:lnSpc>
                    <a:spcPct val="135000"/>
                  </a:lnSpc>
                  <a:buFont typeface="Wingdings" panose="05000000000000000000" pitchFamily="2" charset="2"/>
                  <a:buChar char="§"/>
                </a:pPr>
                <a:endParaRPr lang="en-US" sz="1500" dirty="0"/>
              </a:p>
            </p:txBody>
          </p:sp>
        </mc:Choice>
        <mc:Fallback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D307151D-F263-394D-F924-45A162A2DC29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17501" y="1129308"/>
                <a:ext cx="4642539" cy="4152280"/>
              </a:xfrm>
              <a:blipFill>
                <a:blip r:embed="rId2"/>
                <a:stretch>
                  <a:fillRect l="-2100" r="-656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E2E678F-CE9C-039E-DE2B-BC59039C4B5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Analysis of Resulting Forces</a:t>
            </a:r>
            <a:endParaRPr lang="en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3C0FC9ED-F709-0A27-BC82-D951170DC94D}"/>
                  </a:ext>
                </a:extLst>
              </p:cNvPr>
              <p:cNvSpPr txBox="1"/>
              <p:nvPr/>
            </p:nvSpPr>
            <p:spPr>
              <a:xfrm>
                <a:off x="5989498" y="3381538"/>
                <a:ext cx="264571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28600" indent="-228600" algn="ctr">
                  <a:buFont typeface="+mj-lt"/>
                  <a:buAutoNum type="alphaLcParenR"/>
                </a:pPr>
                <a:r>
                  <a:rPr lang="en-US" sz="800" b="1" dirty="0">
                    <a:latin typeface="+mn-lt"/>
                  </a:rPr>
                  <a:t>Pitching motion -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8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800" b="1" i="1" smtClean="0">
                            <a:latin typeface="Cambria Math" panose="02040503050406030204" pitchFamily="18" charset="0"/>
                          </a:rPr>
                          <m:t>𝑪</m:t>
                        </m:r>
                      </m:e>
                      <m:sub>
                        <m:r>
                          <a:rPr lang="en-US" sz="800" b="1" i="1" smtClean="0">
                            <a:latin typeface="Cambria Math" panose="02040503050406030204" pitchFamily="18" charset="0"/>
                          </a:rPr>
                          <m:t>𝑳</m:t>
                        </m:r>
                      </m:sub>
                    </m:sSub>
                  </m:oMath>
                </a14:m>
                <a:r>
                  <a:rPr lang="en-US" sz="800" b="1" dirty="0">
                    <a:latin typeface="+mn-lt"/>
                  </a:rPr>
                  <a:t> output example</a:t>
                </a:r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3C0FC9ED-F709-0A27-BC82-D951170DC94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89498" y="3381538"/>
                <a:ext cx="2645712" cy="215444"/>
              </a:xfrm>
              <a:prstGeom prst="rect">
                <a:avLst/>
              </a:prstGeom>
              <a:blipFill>
                <a:blip r:embed="rId3"/>
                <a:stretch>
                  <a:fillRect b="-8571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2" name="Picture 11">
            <a:extLst>
              <a:ext uri="{FF2B5EF4-FFF2-40B4-BE49-F238E27FC236}">
                <a16:creationId xmlns:a16="http://schemas.microsoft.com/office/drawing/2014/main" id="{D0C8369C-2369-4768-2924-33A92E73CC4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500" b="1615"/>
          <a:stretch/>
        </p:blipFill>
        <p:spPr bwMode="auto">
          <a:xfrm>
            <a:off x="5080000" y="1058648"/>
            <a:ext cx="4464708" cy="2303771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C0FC9ED-F709-0A27-BC82-D951170DC94D}"/>
              </a:ext>
            </a:extLst>
          </p:cNvPr>
          <p:cNvSpPr txBox="1"/>
          <p:nvPr/>
        </p:nvSpPr>
        <p:spPr>
          <a:xfrm>
            <a:off x="6016074" y="5233763"/>
            <a:ext cx="264571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algn="ctr">
              <a:buFont typeface="+mj-lt"/>
              <a:buAutoNum type="alphaLcParenR" startAt="2"/>
            </a:pPr>
            <a:r>
              <a:rPr lang="en-US" sz="800" b="1" dirty="0">
                <a:latin typeface="+mn-lt"/>
              </a:rPr>
              <a:t>FFT output of a sample input signal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FE97588D-863E-0035-758A-E5E0B1094D8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88" t="4033" r="3167" b="1763"/>
          <a:stretch/>
        </p:blipFill>
        <p:spPr>
          <a:xfrm>
            <a:off x="4876463" y="3752079"/>
            <a:ext cx="4762393" cy="1481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77108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590EF6-D7D6-313A-3E2F-7FAC7B2A43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0" y="95985"/>
            <a:ext cx="8960000" cy="385252"/>
          </a:xfrm>
        </p:spPr>
        <p:txBody>
          <a:bodyPr/>
          <a:lstStyle/>
          <a:p>
            <a:r>
              <a:rPr lang="en-US" dirty="0"/>
              <a:t>Simulation Methodology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27EF17-FB24-AE79-2739-B8DFEC8831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7497" y="1273324"/>
            <a:ext cx="5122540" cy="3816424"/>
          </a:xfrm>
        </p:spPr>
        <p:txBody>
          <a:bodyPr/>
          <a:lstStyle/>
          <a:p>
            <a:pPr marL="285744" indent="-285744">
              <a:lnSpc>
                <a:spcPct val="140000"/>
              </a:lnSpc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sz="1400" u="sng" dirty="0"/>
              <a:t>Partitioned simulations</a:t>
            </a:r>
            <a:r>
              <a:rPr lang="en-US" sz="1400" dirty="0"/>
              <a:t> involve two or more individual solvers as opposed to monolithic simulations (Ex. CFD solvers).</a:t>
            </a:r>
          </a:p>
          <a:p>
            <a:pPr marL="285744" indent="-285744">
              <a:lnSpc>
                <a:spcPct val="140000"/>
              </a:lnSpc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44" indent="-285744">
              <a:lnSpc>
                <a:spcPct val="140000"/>
              </a:lnSpc>
              <a:buFont typeface="Wingdings" panose="05000000000000000000" pitchFamily="2" charset="2"/>
              <a:buChar char="§"/>
            </a:pPr>
            <a:r>
              <a:rPr lang="en-US" sz="1400" dirty="0"/>
              <a:t>Output from fluid solver is a response to a pre-defined motion, i.e., a </a:t>
            </a:r>
            <a:r>
              <a:rPr lang="en-US" sz="1400" u="sng" dirty="0"/>
              <a:t>motion response</a:t>
            </a:r>
            <a:r>
              <a:rPr lang="en-US" sz="1400" dirty="0"/>
              <a:t> instead of a structural response (partitioned fluid-structure interaction (FSI) simulations).</a:t>
            </a:r>
          </a:p>
          <a:p>
            <a:pPr marL="285744" indent="-285744">
              <a:lnSpc>
                <a:spcPct val="140000"/>
              </a:lnSpc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44" indent="-285744">
              <a:lnSpc>
                <a:spcPct val="140000"/>
              </a:lnSpc>
              <a:buFont typeface="Wingdings" panose="05000000000000000000" pitchFamily="2" charset="2"/>
              <a:buChar char="§"/>
            </a:pPr>
            <a:r>
              <a:rPr lang="en-US" sz="1400" dirty="0"/>
              <a:t>Fluid/Aerodynamic solver: </a:t>
            </a:r>
            <a:r>
              <a:rPr lang="en-US" sz="1400" dirty="0">
                <a:solidFill>
                  <a:schemeClr val="accent3">
                    <a:lumMod val="75000"/>
                  </a:schemeClr>
                </a:solidFill>
              </a:rPr>
              <a:t>DUST</a:t>
            </a:r>
          </a:p>
          <a:p>
            <a:pPr marL="285744" indent="-285744">
              <a:lnSpc>
                <a:spcPct val="140000"/>
              </a:lnSpc>
              <a:buFont typeface="Wingdings" panose="05000000000000000000" pitchFamily="2" charset="2"/>
              <a:buChar char="§"/>
            </a:pPr>
            <a:r>
              <a:rPr lang="en-US" sz="1400" dirty="0"/>
              <a:t>Coupling Library: </a:t>
            </a:r>
            <a:r>
              <a:rPr lang="en-US" sz="1400" dirty="0">
                <a:solidFill>
                  <a:schemeClr val="accent3">
                    <a:lumMod val="75000"/>
                  </a:schemeClr>
                </a:solidFill>
              </a:rPr>
              <a:t>preCICE</a:t>
            </a:r>
            <a:endParaRPr lang="en-DE" sz="1400" dirty="0">
              <a:solidFill>
                <a:schemeClr val="accent3">
                  <a:lumMod val="75000"/>
                </a:schemeClr>
              </a:solidFill>
            </a:endParaRP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2B7185DE-9308-30C7-CB24-B6BD787DFC4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03513273"/>
              </p:ext>
            </p:extLst>
          </p:nvPr>
        </p:nvGraphicFramePr>
        <p:xfrm>
          <a:off x="5375716" y="1345333"/>
          <a:ext cx="4466787" cy="28104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78BFA66-2313-DF66-1897-3351E7610B5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17500" y="481237"/>
            <a:ext cx="8960000" cy="385252"/>
          </a:xfrm>
        </p:spPr>
        <p:txBody>
          <a:bodyPr/>
          <a:lstStyle/>
          <a:p>
            <a:r>
              <a:rPr lang="en-US" dirty="0"/>
              <a:t>Partitioned Fluid-Motion Interaction (FMI) Simulations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2323818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AsOne/>
      </p:bldGraphic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0D566FCC-2FE4-2CC9-5366-C1CBD363B0D3}"/>
              </a:ext>
            </a:extLst>
          </p:cNvPr>
          <p:cNvSpPr/>
          <p:nvPr/>
        </p:nvSpPr>
        <p:spPr>
          <a:xfrm>
            <a:off x="8647496" y="3073528"/>
            <a:ext cx="1259423" cy="424226"/>
          </a:xfrm>
          <a:custGeom>
            <a:avLst/>
            <a:gdLst>
              <a:gd name="connsiteX0" fmla="*/ 0 w 1259423"/>
              <a:gd name="connsiteY0" fmla="*/ 42423 h 424226"/>
              <a:gd name="connsiteX1" fmla="*/ 42423 w 1259423"/>
              <a:gd name="connsiteY1" fmla="*/ 0 h 424226"/>
              <a:gd name="connsiteX2" fmla="*/ 1217000 w 1259423"/>
              <a:gd name="connsiteY2" fmla="*/ 0 h 424226"/>
              <a:gd name="connsiteX3" fmla="*/ 1259423 w 1259423"/>
              <a:gd name="connsiteY3" fmla="*/ 42423 h 424226"/>
              <a:gd name="connsiteX4" fmla="*/ 1259423 w 1259423"/>
              <a:gd name="connsiteY4" fmla="*/ 381803 h 424226"/>
              <a:gd name="connsiteX5" fmla="*/ 1217000 w 1259423"/>
              <a:gd name="connsiteY5" fmla="*/ 424226 h 424226"/>
              <a:gd name="connsiteX6" fmla="*/ 42423 w 1259423"/>
              <a:gd name="connsiteY6" fmla="*/ 424226 h 424226"/>
              <a:gd name="connsiteX7" fmla="*/ 0 w 1259423"/>
              <a:gd name="connsiteY7" fmla="*/ 381803 h 424226"/>
              <a:gd name="connsiteX8" fmla="*/ 0 w 1259423"/>
              <a:gd name="connsiteY8" fmla="*/ 42423 h 424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59423" h="424226">
                <a:moveTo>
                  <a:pt x="0" y="42423"/>
                </a:moveTo>
                <a:cubicBezTo>
                  <a:pt x="0" y="18993"/>
                  <a:pt x="18993" y="0"/>
                  <a:pt x="42423" y="0"/>
                </a:cubicBezTo>
                <a:lnTo>
                  <a:pt x="1217000" y="0"/>
                </a:lnTo>
                <a:cubicBezTo>
                  <a:pt x="1240430" y="0"/>
                  <a:pt x="1259423" y="18993"/>
                  <a:pt x="1259423" y="42423"/>
                </a:cubicBezTo>
                <a:lnTo>
                  <a:pt x="1259423" y="381803"/>
                </a:lnTo>
                <a:cubicBezTo>
                  <a:pt x="1259423" y="405233"/>
                  <a:pt x="1240430" y="424226"/>
                  <a:pt x="1217000" y="424226"/>
                </a:cubicBezTo>
                <a:lnTo>
                  <a:pt x="42423" y="424226"/>
                </a:lnTo>
                <a:cubicBezTo>
                  <a:pt x="18993" y="424226"/>
                  <a:pt x="0" y="405233"/>
                  <a:pt x="0" y="381803"/>
                </a:cubicBezTo>
                <a:lnTo>
                  <a:pt x="0" y="42423"/>
                </a:lnTo>
                <a:close/>
              </a:path>
            </a:pathLst>
          </a:custGeom>
          <a:solidFill>
            <a:srgbClr val="FF990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6715" tIns="46715" rIns="46715" bIns="46715" numCol="1" spcCol="1270" anchor="ctr" anchorCtr="0">
            <a:noAutofit/>
          </a:bodyPr>
          <a:lstStyle/>
          <a:p>
            <a:pPr marL="0" lvl="0" indent="0"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900" kern="1200" dirty="0"/>
              <a:t>Global</a:t>
            </a:r>
            <a:endParaRPr lang="en-DE" sz="900" kern="1200" dirty="0"/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E259816A-78E1-6395-DDAF-7A13DF2E24A1}"/>
              </a:ext>
            </a:extLst>
          </p:cNvPr>
          <p:cNvSpPr/>
          <p:nvPr/>
        </p:nvSpPr>
        <p:spPr>
          <a:xfrm>
            <a:off x="9181757" y="3524411"/>
            <a:ext cx="190902" cy="159940"/>
          </a:xfrm>
          <a:custGeom>
            <a:avLst/>
            <a:gdLst>
              <a:gd name="connsiteX0" fmla="*/ 0 w 159940"/>
              <a:gd name="connsiteY0" fmla="*/ 38180 h 190902"/>
              <a:gd name="connsiteX1" fmla="*/ 79970 w 159940"/>
              <a:gd name="connsiteY1" fmla="*/ 38180 h 190902"/>
              <a:gd name="connsiteX2" fmla="*/ 79970 w 159940"/>
              <a:gd name="connsiteY2" fmla="*/ 0 h 190902"/>
              <a:gd name="connsiteX3" fmla="*/ 159940 w 159940"/>
              <a:gd name="connsiteY3" fmla="*/ 95451 h 190902"/>
              <a:gd name="connsiteX4" fmla="*/ 79970 w 159940"/>
              <a:gd name="connsiteY4" fmla="*/ 190902 h 190902"/>
              <a:gd name="connsiteX5" fmla="*/ 79970 w 159940"/>
              <a:gd name="connsiteY5" fmla="*/ 152722 h 190902"/>
              <a:gd name="connsiteX6" fmla="*/ 0 w 159940"/>
              <a:gd name="connsiteY6" fmla="*/ 152722 h 190902"/>
              <a:gd name="connsiteX7" fmla="*/ 0 w 159940"/>
              <a:gd name="connsiteY7" fmla="*/ 38180 h 190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9940" h="190902">
                <a:moveTo>
                  <a:pt x="127952" y="0"/>
                </a:moveTo>
                <a:lnTo>
                  <a:pt x="127952" y="95451"/>
                </a:lnTo>
                <a:lnTo>
                  <a:pt x="159940" y="95451"/>
                </a:lnTo>
                <a:lnTo>
                  <a:pt x="79970" y="190902"/>
                </a:lnTo>
                <a:lnTo>
                  <a:pt x="0" y="95451"/>
                </a:lnTo>
                <a:lnTo>
                  <a:pt x="31988" y="95451"/>
                </a:lnTo>
                <a:lnTo>
                  <a:pt x="31988" y="0"/>
                </a:lnTo>
                <a:lnTo>
                  <a:pt x="127952" y="0"/>
                </a:lnTo>
                <a:close/>
              </a:path>
            </a:pathLst>
          </a:custGeom>
          <a:solidFill>
            <a:schemeClr val="tx1"/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8180" tIns="0" rIns="38180" bIns="47982" numCol="1" spcCol="1270" anchor="ctr" anchorCtr="0">
            <a:noAutofit/>
          </a:bodyPr>
          <a:lstStyle/>
          <a:p>
            <a:pPr marL="0" lvl="0" indent="0" algn="ctr" defTabSz="311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DE" sz="700" kern="1200" dirty="0"/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4E98D22E-1340-FAD7-1E03-5ADC6A2AEBD2}"/>
              </a:ext>
            </a:extLst>
          </p:cNvPr>
          <p:cNvSpPr/>
          <p:nvPr/>
        </p:nvSpPr>
        <p:spPr>
          <a:xfrm>
            <a:off x="8634473" y="3711009"/>
            <a:ext cx="1285468" cy="424226"/>
          </a:xfrm>
          <a:custGeom>
            <a:avLst/>
            <a:gdLst>
              <a:gd name="connsiteX0" fmla="*/ 0 w 1259423"/>
              <a:gd name="connsiteY0" fmla="*/ 42423 h 424226"/>
              <a:gd name="connsiteX1" fmla="*/ 42423 w 1259423"/>
              <a:gd name="connsiteY1" fmla="*/ 0 h 424226"/>
              <a:gd name="connsiteX2" fmla="*/ 1217000 w 1259423"/>
              <a:gd name="connsiteY2" fmla="*/ 0 h 424226"/>
              <a:gd name="connsiteX3" fmla="*/ 1259423 w 1259423"/>
              <a:gd name="connsiteY3" fmla="*/ 42423 h 424226"/>
              <a:gd name="connsiteX4" fmla="*/ 1259423 w 1259423"/>
              <a:gd name="connsiteY4" fmla="*/ 381803 h 424226"/>
              <a:gd name="connsiteX5" fmla="*/ 1217000 w 1259423"/>
              <a:gd name="connsiteY5" fmla="*/ 424226 h 424226"/>
              <a:gd name="connsiteX6" fmla="*/ 42423 w 1259423"/>
              <a:gd name="connsiteY6" fmla="*/ 424226 h 424226"/>
              <a:gd name="connsiteX7" fmla="*/ 0 w 1259423"/>
              <a:gd name="connsiteY7" fmla="*/ 381803 h 424226"/>
              <a:gd name="connsiteX8" fmla="*/ 0 w 1259423"/>
              <a:gd name="connsiteY8" fmla="*/ 42423 h 424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59423" h="424226">
                <a:moveTo>
                  <a:pt x="0" y="42423"/>
                </a:moveTo>
                <a:cubicBezTo>
                  <a:pt x="0" y="18993"/>
                  <a:pt x="18993" y="0"/>
                  <a:pt x="42423" y="0"/>
                </a:cubicBezTo>
                <a:lnTo>
                  <a:pt x="1217000" y="0"/>
                </a:lnTo>
                <a:cubicBezTo>
                  <a:pt x="1240430" y="0"/>
                  <a:pt x="1259423" y="18993"/>
                  <a:pt x="1259423" y="42423"/>
                </a:cubicBezTo>
                <a:lnTo>
                  <a:pt x="1259423" y="381803"/>
                </a:lnTo>
                <a:cubicBezTo>
                  <a:pt x="1259423" y="405233"/>
                  <a:pt x="1240430" y="424226"/>
                  <a:pt x="1217000" y="424226"/>
                </a:cubicBezTo>
                <a:lnTo>
                  <a:pt x="42423" y="424226"/>
                </a:lnTo>
                <a:cubicBezTo>
                  <a:pt x="18993" y="424226"/>
                  <a:pt x="0" y="405233"/>
                  <a:pt x="0" y="381803"/>
                </a:cubicBezTo>
                <a:lnTo>
                  <a:pt x="0" y="42423"/>
                </a:lnTo>
                <a:close/>
              </a:path>
            </a:pathLst>
          </a:custGeom>
          <a:solidFill>
            <a:srgbClr val="FF000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6715" tIns="46715" rIns="46715" bIns="46715" numCol="1" spcCol="1270" anchor="ctr" anchorCtr="0">
            <a:noAutofit/>
          </a:bodyPr>
          <a:lstStyle/>
          <a:p>
            <a:pPr marL="0" lvl="0" indent="0"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900" kern="1200" dirty="0"/>
              <a:t>Wing</a:t>
            </a:r>
          </a:p>
          <a:p>
            <a:pPr marL="0" lvl="0" indent="0"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900" kern="1200" dirty="0"/>
              <a:t>(Coupling Nodes=9)</a:t>
            </a:r>
            <a:endParaRPr lang="en-DE" sz="900" kern="1200" dirty="0"/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78473A70-4100-AF68-5D3E-D9E7BE2209D8}"/>
              </a:ext>
            </a:extLst>
          </p:cNvPr>
          <p:cNvSpPr/>
          <p:nvPr/>
        </p:nvSpPr>
        <p:spPr>
          <a:xfrm>
            <a:off x="9181756" y="4161749"/>
            <a:ext cx="190903" cy="159086"/>
          </a:xfrm>
          <a:custGeom>
            <a:avLst/>
            <a:gdLst>
              <a:gd name="connsiteX0" fmla="*/ 0 w 159085"/>
              <a:gd name="connsiteY0" fmla="*/ 38180 h 190902"/>
              <a:gd name="connsiteX1" fmla="*/ 79543 w 159085"/>
              <a:gd name="connsiteY1" fmla="*/ 38180 h 190902"/>
              <a:gd name="connsiteX2" fmla="*/ 79543 w 159085"/>
              <a:gd name="connsiteY2" fmla="*/ 0 h 190902"/>
              <a:gd name="connsiteX3" fmla="*/ 159085 w 159085"/>
              <a:gd name="connsiteY3" fmla="*/ 95451 h 190902"/>
              <a:gd name="connsiteX4" fmla="*/ 79543 w 159085"/>
              <a:gd name="connsiteY4" fmla="*/ 190902 h 190902"/>
              <a:gd name="connsiteX5" fmla="*/ 79543 w 159085"/>
              <a:gd name="connsiteY5" fmla="*/ 152722 h 190902"/>
              <a:gd name="connsiteX6" fmla="*/ 0 w 159085"/>
              <a:gd name="connsiteY6" fmla="*/ 152722 h 190902"/>
              <a:gd name="connsiteX7" fmla="*/ 0 w 159085"/>
              <a:gd name="connsiteY7" fmla="*/ 38180 h 190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9085" h="190902">
                <a:moveTo>
                  <a:pt x="127268" y="1"/>
                </a:moveTo>
                <a:lnTo>
                  <a:pt x="127268" y="95452"/>
                </a:lnTo>
                <a:lnTo>
                  <a:pt x="159085" y="95452"/>
                </a:lnTo>
                <a:lnTo>
                  <a:pt x="79543" y="190901"/>
                </a:lnTo>
                <a:lnTo>
                  <a:pt x="0" y="95452"/>
                </a:lnTo>
                <a:lnTo>
                  <a:pt x="31817" y="95452"/>
                </a:lnTo>
                <a:lnTo>
                  <a:pt x="31817" y="1"/>
                </a:lnTo>
                <a:lnTo>
                  <a:pt x="127268" y="1"/>
                </a:lnTo>
                <a:close/>
              </a:path>
            </a:pathLst>
          </a:custGeom>
          <a:solidFill>
            <a:schemeClr val="tx1"/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8181" tIns="1" rIns="38180" bIns="47725" numCol="1" spcCol="1270" anchor="ctr" anchorCtr="0">
            <a:noAutofit/>
          </a:bodyPr>
          <a:lstStyle/>
          <a:p>
            <a:pPr marL="0" lvl="0" indent="0" algn="ctr" defTabSz="311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DE" sz="700" kern="1200" dirty="0"/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AA9A12B3-1A01-3F89-D3FC-887A7C53375D}"/>
              </a:ext>
            </a:extLst>
          </p:cNvPr>
          <p:cNvSpPr/>
          <p:nvPr/>
        </p:nvSpPr>
        <p:spPr>
          <a:xfrm>
            <a:off x="8647496" y="4347349"/>
            <a:ext cx="1259423" cy="424226"/>
          </a:xfrm>
          <a:custGeom>
            <a:avLst/>
            <a:gdLst>
              <a:gd name="connsiteX0" fmla="*/ 0 w 1259423"/>
              <a:gd name="connsiteY0" fmla="*/ 42423 h 424226"/>
              <a:gd name="connsiteX1" fmla="*/ 42423 w 1259423"/>
              <a:gd name="connsiteY1" fmla="*/ 0 h 424226"/>
              <a:gd name="connsiteX2" fmla="*/ 1217000 w 1259423"/>
              <a:gd name="connsiteY2" fmla="*/ 0 h 424226"/>
              <a:gd name="connsiteX3" fmla="*/ 1259423 w 1259423"/>
              <a:gd name="connsiteY3" fmla="*/ 42423 h 424226"/>
              <a:gd name="connsiteX4" fmla="*/ 1259423 w 1259423"/>
              <a:gd name="connsiteY4" fmla="*/ 381803 h 424226"/>
              <a:gd name="connsiteX5" fmla="*/ 1217000 w 1259423"/>
              <a:gd name="connsiteY5" fmla="*/ 424226 h 424226"/>
              <a:gd name="connsiteX6" fmla="*/ 42423 w 1259423"/>
              <a:gd name="connsiteY6" fmla="*/ 424226 h 424226"/>
              <a:gd name="connsiteX7" fmla="*/ 0 w 1259423"/>
              <a:gd name="connsiteY7" fmla="*/ 381803 h 424226"/>
              <a:gd name="connsiteX8" fmla="*/ 0 w 1259423"/>
              <a:gd name="connsiteY8" fmla="*/ 42423 h 424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59423" h="424226">
                <a:moveTo>
                  <a:pt x="0" y="42423"/>
                </a:moveTo>
                <a:cubicBezTo>
                  <a:pt x="0" y="18993"/>
                  <a:pt x="18993" y="0"/>
                  <a:pt x="42423" y="0"/>
                </a:cubicBezTo>
                <a:lnTo>
                  <a:pt x="1217000" y="0"/>
                </a:lnTo>
                <a:cubicBezTo>
                  <a:pt x="1240430" y="0"/>
                  <a:pt x="1259423" y="18993"/>
                  <a:pt x="1259423" y="42423"/>
                </a:cubicBezTo>
                <a:lnTo>
                  <a:pt x="1259423" y="381803"/>
                </a:lnTo>
                <a:cubicBezTo>
                  <a:pt x="1259423" y="405233"/>
                  <a:pt x="1240430" y="424226"/>
                  <a:pt x="1217000" y="424226"/>
                </a:cubicBezTo>
                <a:lnTo>
                  <a:pt x="42423" y="424226"/>
                </a:lnTo>
                <a:cubicBezTo>
                  <a:pt x="18993" y="424226"/>
                  <a:pt x="0" y="405233"/>
                  <a:pt x="0" y="381803"/>
                </a:cubicBezTo>
                <a:lnTo>
                  <a:pt x="0" y="42423"/>
                </a:lnTo>
                <a:close/>
              </a:path>
            </a:pathLst>
          </a:custGeom>
          <a:solidFill>
            <a:srgbClr val="00B05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6715" tIns="46715" rIns="46715" bIns="46715" numCol="1" spcCol="1270" anchor="ctr" anchorCtr="0">
            <a:noAutofit/>
          </a:bodyPr>
          <a:lstStyle/>
          <a:p>
            <a:pPr marL="0" lvl="0" indent="0"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900" kern="1200" dirty="0"/>
              <a:t>Pivot Point</a:t>
            </a:r>
            <a:endParaRPr lang="en-DE" sz="900" kern="1200" dirty="0"/>
          </a:p>
        </p:txBody>
      </p: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5516A123-AF0F-0B0D-E742-EBAAA505A6F9}"/>
              </a:ext>
            </a:extLst>
          </p:cNvPr>
          <p:cNvSpPr/>
          <p:nvPr/>
        </p:nvSpPr>
        <p:spPr>
          <a:xfrm>
            <a:off x="9181756" y="4798089"/>
            <a:ext cx="190903" cy="159086"/>
          </a:xfrm>
          <a:custGeom>
            <a:avLst/>
            <a:gdLst>
              <a:gd name="connsiteX0" fmla="*/ 0 w 159085"/>
              <a:gd name="connsiteY0" fmla="*/ 38180 h 190902"/>
              <a:gd name="connsiteX1" fmla="*/ 79543 w 159085"/>
              <a:gd name="connsiteY1" fmla="*/ 38180 h 190902"/>
              <a:gd name="connsiteX2" fmla="*/ 79543 w 159085"/>
              <a:gd name="connsiteY2" fmla="*/ 0 h 190902"/>
              <a:gd name="connsiteX3" fmla="*/ 159085 w 159085"/>
              <a:gd name="connsiteY3" fmla="*/ 95451 h 190902"/>
              <a:gd name="connsiteX4" fmla="*/ 79543 w 159085"/>
              <a:gd name="connsiteY4" fmla="*/ 190902 h 190902"/>
              <a:gd name="connsiteX5" fmla="*/ 79543 w 159085"/>
              <a:gd name="connsiteY5" fmla="*/ 152722 h 190902"/>
              <a:gd name="connsiteX6" fmla="*/ 0 w 159085"/>
              <a:gd name="connsiteY6" fmla="*/ 152722 h 190902"/>
              <a:gd name="connsiteX7" fmla="*/ 0 w 159085"/>
              <a:gd name="connsiteY7" fmla="*/ 38180 h 190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9085" h="190902">
                <a:moveTo>
                  <a:pt x="127268" y="1"/>
                </a:moveTo>
                <a:lnTo>
                  <a:pt x="127268" y="95452"/>
                </a:lnTo>
                <a:lnTo>
                  <a:pt x="159085" y="95452"/>
                </a:lnTo>
                <a:lnTo>
                  <a:pt x="79543" y="190901"/>
                </a:lnTo>
                <a:lnTo>
                  <a:pt x="0" y="95452"/>
                </a:lnTo>
                <a:lnTo>
                  <a:pt x="31817" y="95452"/>
                </a:lnTo>
                <a:lnTo>
                  <a:pt x="31817" y="1"/>
                </a:lnTo>
                <a:lnTo>
                  <a:pt x="127268" y="1"/>
                </a:lnTo>
                <a:close/>
              </a:path>
            </a:pathLst>
          </a:custGeom>
          <a:solidFill>
            <a:schemeClr val="tx1"/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8181" tIns="1" rIns="38180" bIns="47725" numCol="1" spcCol="1270" anchor="ctr" anchorCtr="0">
            <a:noAutofit/>
          </a:bodyPr>
          <a:lstStyle/>
          <a:p>
            <a:pPr marL="0" lvl="0" indent="0" algn="ctr" defTabSz="311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DE" sz="700" kern="1200" dirty="0"/>
          </a:p>
        </p:txBody>
      </p:sp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071F44AC-511C-E67D-892A-5B8FA2D13E9D}"/>
              </a:ext>
            </a:extLst>
          </p:cNvPr>
          <p:cNvSpPr/>
          <p:nvPr/>
        </p:nvSpPr>
        <p:spPr>
          <a:xfrm>
            <a:off x="8638561" y="4983689"/>
            <a:ext cx="1287978" cy="424226"/>
          </a:xfrm>
          <a:custGeom>
            <a:avLst/>
            <a:gdLst>
              <a:gd name="connsiteX0" fmla="*/ 0 w 1259423"/>
              <a:gd name="connsiteY0" fmla="*/ 42423 h 424226"/>
              <a:gd name="connsiteX1" fmla="*/ 42423 w 1259423"/>
              <a:gd name="connsiteY1" fmla="*/ 0 h 424226"/>
              <a:gd name="connsiteX2" fmla="*/ 1217000 w 1259423"/>
              <a:gd name="connsiteY2" fmla="*/ 0 h 424226"/>
              <a:gd name="connsiteX3" fmla="*/ 1259423 w 1259423"/>
              <a:gd name="connsiteY3" fmla="*/ 42423 h 424226"/>
              <a:gd name="connsiteX4" fmla="*/ 1259423 w 1259423"/>
              <a:gd name="connsiteY4" fmla="*/ 381803 h 424226"/>
              <a:gd name="connsiteX5" fmla="*/ 1217000 w 1259423"/>
              <a:gd name="connsiteY5" fmla="*/ 424226 h 424226"/>
              <a:gd name="connsiteX6" fmla="*/ 42423 w 1259423"/>
              <a:gd name="connsiteY6" fmla="*/ 424226 h 424226"/>
              <a:gd name="connsiteX7" fmla="*/ 0 w 1259423"/>
              <a:gd name="connsiteY7" fmla="*/ 381803 h 424226"/>
              <a:gd name="connsiteX8" fmla="*/ 0 w 1259423"/>
              <a:gd name="connsiteY8" fmla="*/ 42423 h 424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59423" h="424226">
                <a:moveTo>
                  <a:pt x="0" y="42423"/>
                </a:moveTo>
                <a:cubicBezTo>
                  <a:pt x="0" y="18993"/>
                  <a:pt x="18993" y="0"/>
                  <a:pt x="42423" y="0"/>
                </a:cubicBezTo>
                <a:lnTo>
                  <a:pt x="1217000" y="0"/>
                </a:lnTo>
                <a:cubicBezTo>
                  <a:pt x="1240430" y="0"/>
                  <a:pt x="1259423" y="18993"/>
                  <a:pt x="1259423" y="42423"/>
                </a:cubicBezTo>
                <a:lnTo>
                  <a:pt x="1259423" y="381803"/>
                </a:lnTo>
                <a:cubicBezTo>
                  <a:pt x="1259423" y="405233"/>
                  <a:pt x="1240430" y="424226"/>
                  <a:pt x="1217000" y="424226"/>
                </a:cubicBezTo>
                <a:lnTo>
                  <a:pt x="42423" y="424226"/>
                </a:lnTo>
                <a:cubicBezTo>
                  <a:pt x="18993" y="424226"/>
                  <a:pt x="0" y="405233"/>
                  <a:pt x="0" y="381803"/>
                </a:cubicBezTo>
                <a:lnTo>
                  <a:pt x="0" y="42423"/>
                </a:lnTo>
                <a:close/>
              </a:path>
            </a:pathLst>
          </a:custGeom>
          <a:solidFill>
            <a:srgbClr val="7030A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6715" tIns="46715" rIns="46715" bIns="46715" numCol="1" spcCol="1270" anchor="ctr" anchorCtr="0">
            <a:noAutofit/>
          </a:bodyPr>
          <a:lstStyle/>
          <a:p>
            <a:pPr marL="0" lvl="0" indent="0"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900" kern="1200" dirty="0"/>
              <a:t>Propeller</a:t>
            </a:r>
          </a:p>
          <a:p>
            <a:pPr marL="0" lvl="0" indent="0"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900" kern="1200" dirty="0"/>
              <a:t>(Coupling Nodes=4)</a:t>
            </a:r>
            <a:endParaRPr lang="en-DE" sz="900" kern="1200" dirty="0"/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9DD8C643-A210-0493-C699-FCC6A6900CCD}"/>
              </a:ext>
            </a:extLst>
          </p:cNvPr>
          <p:cNvGrpSpPr/>
          <p:nvPr/>
        </p:nvGrpSpPr>
        <p:grpSpPr>
          <a:xfrm>
            <a:off x="1253728" y="1083956"/>
            <a:ext cx="2196704" cy="4256114"/>
            <a:chOff x="1253728" y="1083956"/>
            <a:chExt cx="2196704" cy="4256114"/>
          </a:xfrm>
        </p:grpSpPr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A8CCE9B5-88D9-D5F8-9E5D-53B67EC52AC8}"/>
                </a:ext>
              </a:extLst>
            </p:cNvPr>
            <p:cNvSpPr/>
            <p:nvPr/>
          </p:nvSpPr>
          <p:spPr>
            <a:xfrm>
              <a:off x="1253728" y="1083956"/>
              <a:ext cx="2196704" cy="549176"/>
            </a:xfrm>
            <a:custGeom>
              <a:avLst/>
              <a:gdLst>
                <a:gd name="connsiteX0" fmla="*/ 0 w 2196704"/>
                <a:gd name="connsiteY0" fmla="*/ 54918 h 549176"/>
                <a:gd name="connsiteX1" fmla="*/ 54918 w 2196704"/>
                <a:gd name="connsiteY1" fmla="*/ 0 h 549176"/>
                <a:gd name="connsiteX2" fmla="*/ 2141786 w 2196704"/>
                <a:gd name="connsiteY2" fmla="*/ 0 h 549176"/>
                <a:gd name="connsiteX3" fmla="*/ 2196704 w 2196704"/>
                <a:gd name="connsiteY3" fmla="*/ 54918 h 549176"/>
                <a:gd name="connsiteX4" fmla="*/ 2196704 w 2196704"/>
                <a:gd name="connsiteY4" fmla="*/ 494258 h 549176"/>
                <a:gd name="connsiteX5" fmla="*/ 2141786 w 2196704"/>
                <a:gd name="connsiteY5" fmla="*/ 549176 h 549176"/>
                <a:gd name="connsiteX6" fmla="*/ 54918 w 2196704"/>
                <a:gd name="connsiteY6" fmla="*/ 549176 h 549176"/>
                <a:gd name="connsiteX7" fmla="*/ 0 w 2196704"/>
                <a:gd name="connsiteY7" fmla="*/ 494258 h 549176"/>
                <a:gd name="connsiteX8" fmla="*/ 0 w 2196704"/>
                <a:gd name="connsiteY8" fmla="*/ 54918 h 549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96704" h="549176">
                  <a:moveTo>
                    <a:pt x="0" y="54918"/>
                  </a:moveTo>
                  <a:cubicBezTo>
                    <a:pt x="0" y="24588"/>
                    <a:pt x="24588" y="0"/>
                    <a:pt x="54918" y="0"/>
                  </a:cubicBezTo>
                  <a:lnTo>
                    <a:pt x="2141786" y="0"/>
                  </a:lnTo>
                  <a:cubicBezTo>
                    <a:pt x="2172116" y="0"/>
                    <a:pt x="2196704" y="24588"/>
                    <a:pt x="2196704" y="54918"/>
                  </a:cubicBezTo>
                  <a:lnTo>
                    <a:pt x="2196704" y="494258"/>
                  </a:lnTo>
                  <a:cubicBezTo>
                    <a:pt x="2196704" y="524588"/>
                    <a:pt x="2172116" y="549176"/>
                    <a:pt x="2141786" y="549176"/>
                  </a:cubicBezTo>
                  <a:lnTo>
                    <a:pt x="54918" y="549176"/>
                  </a:lnTo>
                  <a:cubicBezTo>
                    <a:pt x="24588" y="549176"/>
                    <a:pt x="0" y="524588"/>
                    <a:pt x="0" y="494258"/>
                  </a:cubicBezTo>
                  <a:lnTo>
                    <a:pt x="0" y="54918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4025" tIns="44025" rIns="44025" bIns="44025" numCol="1" spcCol="1270" anchor="ctr" anchorCtr="0">
              <a:noAutofit/>
            </a:bodyPr>
            <a:lstStyle/>
            <a:p>
              <a:pPr marL="0" lvl="0" indent="0"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200" kern="1200" dirty="0"/>
                <a:t>FMI simulation</a:t>
              </a:r>
              <a:endParaRPr lang="en-DE" sz="2200" kern="1200" dirty="0"/>
            </a:p>
          </p:txBody>
        </p:sp>
        <p:sp>
          <p:nvSpPr>
            <p:cNvPr id="59" name="Arrow: Right 58">
              <a:extLst>
                <a:ext uri="{FF2B5EF4-FFF2-40B4-BE49-F238E27FC236}">
                  <a16:creationId xmlns:a16="http://schemas.microsoft.com/office/drawing/2014/main" id="{C5E0E5B2-13E6-B67D-4DF6-67306FEC6552}"/>
                </a:ext>
              </a:extLst>
            </p:cNvPr>
            <p:cNvSpPr/>
            <p:nvPr/>
          </p:nvSpPr>
          <p:spPr>
            <a:xfrm rot="5400000">
              <a:off x="2304027" y="1681185"/>
              <a:ext cx="96105" cy="96105"/>
            </a:xfrm>
            <a:prstGeom prst="rightArrow">
              <a:avLst>
                <a:gd name="adj1" fmla="val 66700"/>
                <a:gd name="adj2" fmla="val 50000"/>
              </a:avLst>
            </a:pr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0" name="Freeform: Shape 59">
                  <a:extLst>
                    <a:ext uri="{FF2B5EF4-FFF2-40B4-BE49-F238E27FC236}">
                      <a16:creationId xmlns:a16="http://schemas.microsoft.com/office/drawing/2014/main" id="{EDDA9A49-8A9A-F22D-474B-9A11A80F8853}"/>
                    </a:ext>
                  </a:extLst>
                </p:cNvPr>
                <p:cNvSpPr/>
                <p:nvPr/>
              </p:nvSpPr>
              <p:spPr>
                <a:xfrm>
                  <a:off x="1253728" y="1825343"/>
                  <a:ext cx="2196704" cy="549176"/>
                </a:xfrm>
                <a:custGeom>
                  <a:avLst/>
                  <a:gdLst>
                    <a:gd name="connsiteX0" fmla="*/ 0 w 2196704"/>
                    <a:gd name="connsiteY0" fmla="*/ 54918 h 549176"/>
                    <a:gd name="connsiteX1" fmla="*/ 54918 w 2196704"/>
                    <a:gd name="connsiteY1" fmla="*/ 0 h 549176"/>
                    <a:gd name="connsiteX2" fmla="*/ 2141786 w 2196704"/>
                    <a:gd name="connsiteY2" fmla="*/ 0 h 549176"/>
                    <a:gd name="connsiteX3" fmla="*/ 2196704 w 2196704"/>
                    <a:gd name="connsiteY3" fmla="*/ 54918 h 549176"/>
                    <a:gd name="connsiteX4" fmla="*/ 2196704 w 2196704"/>
                    <a:gd name="connsiteY4" fmla="*/ 494258 h 549176"/>
                    <a:gd name="connsiteX5" fmla="*/ 2141786 w 2196704"/>
                    <a:gd name="connsiteY5" fmla="*/ 549176 h 549176"/>
                    <a:gd name="connsiteX6" fmla="*/ 54918 w 2196704"/>
                    <a:gd name="connsiteY6" fmla="*/ 549176 h 549176"/>
                    <a:gd name="connsiteX7" fmla="*/ 0 w 2196704"/>
                    <a:gd name="connsiteY7" fmla="*/ 494258 h 549176"/>
                    <a:gd name="connsiteX8" fmla="*/ 0 w 2196704"/>
                    <a:gd name="connsiteY8" fmla="*/ 54918 h 5491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196704" h="549176">
                      <a:moveTo>
                        <a:pt x="0" y="54918"/>
                      </a:moveTo>
                      <a:cubicBezTo>
                        <a:pt x="0" y="24588"/>
                        <a:pt x="24588" y="0"/>
                        <a:pt x="54918" y="0"/>
                      </a:cubicBezTo>
                      <a:lnTo>
                        <a:pt x="2141786" y="0"/>
                      </a:lnTo>
                      <a:cubicBezTo>
                        <a:pt x="2172116" y="0"/>
                        <a:pt x="2196704" y="24588"/>
                        <a:pt x="2196704" y="54918"/>
                      </a:cubicBezTo>
                      <a:lnTo>
                        <a:pt x="2196704" y="494258"/>
                      </a:lnTo>
                      <a:cubicBezTo>
                        <a:pt x="2196704" y="524588"/>
                        <a:pt x="2172116" y="549176"/>
                        <a:pt x="2141786" y="549176"/>
                      </a:cubicBezTo>
                      <a:lnTo>
                        <a:pt x="54918" y="549176"/>
                      </a:lnTo>
                      <a:cubicBezTo>
                        <a:pt x="24588" y="549176"/>
                        <a:pt x="0" y="524588"/>
                        <a:pt x="0" y="494258"/>
                      </a:cubicBezTo>
                      <a:lnTo>
                        <a:pt x="0" y="54918"/>
                      </a:lnTo>
                      <a:close/>
                    </a:path>
                  </a:pathLst>
                </a:custGeom>
              </p:spPr>
              <p:style>
                <a:lnRef idx="2">
                  <a:schemeClr val="accent1">
                    <a:alpha val="90000"/>
                    <a:tint val="40000"/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alpha val="90000"/>
                    <a:tint val="4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alpha val="90000"/>
                    <a:tint val="4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28785" tIns="28785" rIns="28785" bIns="28785" numCol="1" spcCol="1270" anchor="ctr" anchorCtr="0">
                  <a:noAutofit/>
                </a:bodyPr>
                <a:lstStyle/>
                <a:p>
                  <a:pPr marL="0" lvl="0" indent="0" algn="ctr" defTabSz="4445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US" sz="1000" kern="1200" dirty="0"/>
                    <a:t>Create solver object and store simulation parameters</a:t>
                  </a:r>
                </a:p>
                <a:p>
                  <a:pPr marL="0" lvl="0" indent="0" algn="ctr" defTabSz="4445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US" sz="1000" kern="1200" dirty="0"/>
                    <a:t>(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sz="1000" i="1" kern="1200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000" b="0" i="1" kern="1200" dirty="0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  <m:sub>
                          <m:r>
                            <a:rPr lang="en-US" sz="1000" b="0" i="1" kern="1200" dirty="0" smtClean="0">
                              <a:latin typeface="Cambria Math" panose="02040503050406030204" pitchFamily="18" charset="0"/>
                            </a:rPr>
                            <m:t>𝑠𝑡𝑎𝑟𝑡</m:t>
                          </m:r>
                        </m:sub>
                      </m:sSub>
                    </m:oMath>
                  </a14:m>
                  <a:r>
                    <a:rPr lang="en-US" sz="1000" kern="1200" dirty="0"/>
                    <a:t>,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sz="1000" i="1" kern="1200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000" b="0" i="1" kern="1200" dirty="0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  <m:sub>
                          <m:r>
                            <a:rPr lang="en-US" sz="1000" b="0" i="1" kern="1200" dirty="0" smtClean="0">
                              <a:latin typeface="Cambria Math" panose="02040503050406030204" pitchFamily="18" charset="0"/>
                            </a:rPr>
                            <m:t>𝑓𝑖𝑛𝑎𝑙</m:t>
                          </m:r>
                        </m:sub>
                      </m:sSub>
                    </m:oMath>
                  </a14:m>
                  <a:r>
                    <a:rPr lang="en-US" sz="1000" kern="1200" dirty="0"/>
                    <a:t>, </a:t>
                  </a:r>
                  <a14:m>
                    <m:oMath xmlns:m="http://schemas.openxmlformats.org/officeDocument/2006/math">
                      <m:r>
                        <a:rPr lang="en-US" sz="1000" i="1" kern="1200" dirty="0" smtClean="0">
                          <a:latin typeface="Cambria Math" panose="02040503050406030204" pitchFamily="18" charset="0"/>
                        </a:rPr>
                        <m:t>𝑑</m:t>
                      </m:r>
                      <m:r>
                        <a:rPr lang="en-US" sz="1000" b="0" i="1" kern="1200" dirty="0" smtClean="0">
                          <a:latin typeface="Cambria Math" panose="02040503050406030204" pitchFamily="18" charset="0"/>
                        </a:rPr>
                        <m:t>𝑡</m:t>
                      </m:r>
                    </m:oMath>
                  </a14:m>
                  <a:r>
                    <a:rPr lang="en-US" sz="1000" kern="1200" dirty="0"/>
                    <a:t>, </a:t>
                  </a:r>
                  <a14:m>
                    <m:oMath xmlns:m="http://schemas.openxmlformats.org/officeDocument/2006/math">
                      <m:r>
                        <a:rPr lang="en-US" sz="1000" i="1" kern="1200" dirty="0" smtClean="0">
                          <a:latin typeface="Cambria Math" panose="02040503050406030204" pitchFamily="18" charset="0"/>
                        </a:rPr>
                        <m:t>𝑛</m:t>
                      </m:r>
                      <m:r>
                        <a:rPr lang="en-US" sz="1000" b="0" i="1" kern="1200" dirty="0" smtClean="0">
                          <a:latin typeface="Cambria Math" panose="02040503050406030204" pitchFamily="18" charset="0"/>
                        </a:rPr>
                        <m:t>𝑢𝑚</m:t>
                      </m:r>
                      <m:r>
                        <a:rPr lang="en-US" sz="1000" b="0" i="1" kern="1200" dirty="0" smtClean="0">
                          <a:latin typeface="Cambria Math" panose="02040503050406030204" pitchFamily="18" charset="0"/>
                        </a:rPr>
                        <m:t>_</m:t>
                      </m:r>
                      <m:r>
                        <a:rPr lang="en-US" sz="1000" b="0" i="1" kern="1200" dirty="0" smtClean="0">
                          <a:latin typeface="Cambria Math" panose="02040503050406030204" pitchFamily="18" charset="0"/>
                        </a:rPr>
                        <m:t>𝑛𝑜𝑑𝑒𝑠</m:t>
                      </m:r>
                    </m:oMath>
                  </a14:m>
                  <a:r>
                    <a:rPr lang="en-US" sz="1000" kern="1200" dirty="0"/>
                    <a:t>)</a:t>
                  </a:r>
                  <a:endParaRPr lang="en-DE" sz="1000" kern="1200" dirty="0"/>
                </a:p>
              </p:txBody>
            </p:sp>
          </mc:Choice>
          <mc:Fallback xmlns="">
            <p:sp>
              <p:nvSpPr>
                <p:cNvPr id="60" name="Freeform: Shape 59">
                  <a:extLst>
                    <a:ext uri="{FF2B5EF4-FFF2-40B4-BE49-F238E27FC236}">
                      <a16:creationId xmlns:a16="http://schemas.microsoft.com/office/drawing/2014/main" id="{EDDA9A49-8A9A-F22D-474B-9A11A80F8853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253728" y="1825343"/>
                  <a:ext cx="2196704" cy="549176"/>
                </a:xfrm>
                <a:custGeom>
                  <a:avLst/>
                  <a:gdLst>
                    <a:gd name="connsiteX0" fmla="*/ 0 w 2196704"/>
                    <a:gd name="connsiteY0" fmla="*/ 54918 h 549176"/>
                    <a:gd name="connsiteX1" fmla="*/ 54918 w 2196704"/>
                    <a:gd name="connsiteY1" fmla="*/ 0 h 549176"/>
                    <a:gd name="connsiteX2" fmla="*/ 2141786 w 2196704"/>
                    <a:gd name="connsiteY2" fmla="*/ 0 h 549176"/>
                    <a:gd name="connsiteX3" fmla="*/ 2196704 w 2196704"/>
                    <a:gd name="connsiteY3" fmla="*/ 54918 h 549176"/>
                    <a:gd name="connsiteX4" fmla="*/ 2196704 w 2196704"/>
                    <a:gd name="connsiteY4" fmla="*/ 494258 h 549176"/>
                    <a:gd name="connsiteX5" fmla="*/ 2141786 w 2196704"/>
                    <a:gd name="connsiteY5" fmla="*/ 549176 h 549176"/>
                    <a:gd name="connsiteX6" fmla="*/ 54918 w 2196704"/>
                    <a:gd name="connsiteY6" fmla="*/ 549176 h 549176"/>
                    <a:gd name="connsiteX7" fmla="*/ 0 w 2196704"/>
                    <a:gd name="connsiteY7" fmla="*/ 494258 h 549176"/>
                    <a:gd name="connsiteX8" fmla="*/ 0 w 2196704"/>
                    <a:gd name="connsiteY8" fmla="*/ 54918 h 5491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196704" h="549176">
                      <a:moveTo>
                        <a:pt x="0" y="54918"/>
                      </a:moveTo>
                      <a:cubicBezTo>
                        <a:pt x="0" y="24588"/>
                        <a:pt x="24588" y="0"/>
                        <a:pt x="54918" y="0"/>
                      </a:cubicBezTo>
                      <a:lnTo>
                        <a:pt x="2141786" y="0"/>
                      </a:lnTo>
                      <a:cubicBezTo>
                        <a:pt x="2172116" y="0"/>
                        <a:pt x="2196704" y="24588"/>
                        <a:pt x="2196704" y="54918"/>
                      </a:cubicBezTo>
                      <a:lnTo>
                        <a:pt x="2196704" y="494258"/>
                      </a:lnTo>
                      <a:cubicBezTo>
                        <a:pt x="2196704" y="524588"/>
                        <a:pt x="2172116" y="549176"/>
                        <a:pt x="2141786" y="549176"/>
                      </a:cubicBezTo>
                      <a:lnTo>
                        <a:pt x="54918" y="549176"/>
                      </a:lnTo>
                      <a:cubicBezTo>
                        <a:pt x="24588" y="549176"/>
                        <a:pt x="0" y="524588"/>
                        <a:pt x="0" y="494258"/>
                      </a:cubicBezTo>
                      <a:lnTo>
                        <a:pt x="0" y="54918"/>
                      </a:lnTo>
                      <a:close/>
                    </a:path>
                  </a:pathLst>
                </a:custGeom>
                <a:blipFill>
                  <a:blip r:embed="rId3"/>
                  <a:stretch>
                    <a:fillRect t="-2105" b="-2105"/>
                  </a:stretch>
                </a:blipFill>
              </p:spPr>
              <p:txBody>
                <a:bodyPr/>
                <a:lstStyle/>
                <a:p>
                  <a:r>
                    <a:rPr lang="en-GB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61" name="Arrow: Right 60">
              <a:extLst>
                <a:ext uri="{FF2B5EF4-FFF2-40B4-BE49-F238E27FC236}">
                  <a16:creationId xmlns:a16="http://schemas.microsoft.com/office/drawing/2014/main" id="{661F579B-4F45-65B0-1E21-96EFF1E0885F}"/>
                </a:ext>
              </a:extLst>
            </p:cNvPr>
            <p:cNvSpPr/>
            <p:nvPr/>
          </p:nvSpPr>
          <p:spPr>
            <a:xfrm rot="5400000">
              <a:off x="2304027" y="2422572"/>
              <a:ext cx="96105" cy="96105"/>
            </a:xfrm>
            <a:prstGeom prst="rightArrow">
              <a:avLst>
                <a:gd name="adj1" fmla="val 66700"/>
                <a:gd name="adj2" fmla="val 50000"/>
              </a:avLst>
            </a:pr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95ADB7B8-F506-2242-CFFB-3631AD216351}"/>
                </a:ext>
              </a:extLst>
            </p:cNvPr>
            <p:cNvSpPr/>
            <p:nvPr/>
          </p:nvSpPr>
          <p:spPr>
            <a:xfrm>
              <a:off x="1253728" y="2566731"/>
              <a:ext cx="2196704" cy="549176"/>
            </a:xfrm>
            <a:custGeom>
              <a:avLst/>
              <a:gdLst>
                <a:gd name="connsiteX0" fmla="*/ 0 w 2196704"/>
                <a:gd name="connsiteY0" fmla="*/ 54918 h 549176"/>
                <a:gd name="connsiteX1" fmla="*/ 54918 w 2196704"/>
                <a:gd name="connsiteY1" fmla="*/ 0 h 549176"/>
                <a:gd name="connsiteX2" fmla="*/ 2141786 w 2196704"/>
                <a:gd name="connsiteY2" fmla="*/ 0 h 549176"/>
                <a:gd name="connsiteX3" fmla="*/ 2196704 w 2196704"/>
                <a:gd name="connsiteY3" fmla="*/ 54918 h 549176"/>
                <a:gd name="connsiteX4" fmla="*/ 2196704 w 2196704"/>
                <a:gd name="connsiteY4" fmla="*/ 494258 h 549176"/>
                <a:gd name="connsiteX5" fmla="*/ 2141786 w 2196704"/>
                <a:gd name="connsiteY5" fmla="*/ 549176 h 549176"/>
                <a:gd name="connsiteX6" fmla="*/ 54918 w 2196704"/>
                <a:gd name="connsiteY6" fmla="*/ 549176 h 549176"/>
                <a:gd name="connsiteX7" fmla="*/ 0 w 2196704"/>
                <a:gd name="connsiteY7" fmla="*/ 494258 h 549176"/>
                <a:gd name="connsiteX8" fmla="*/ 0 w 2196704"/>
                <a:gd name="connsiteY8" fmla="*/ 54918 h 549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96704" h="549176">
                  <a:moveTo>
                    <a:pt x="0" y="54918"/>
                  </a:moveTo>
                  <a:cubicBezTo>
                    <a:pt x="0" y="24588"/>
                    <a:pt x="24588" y="0"/>
                    <a:pt x="54918" y="0"/>
                  </a:cubicBezTo>
                  <a:lnTo>
                    <a:pt x="2141786" y="0"/>
                  </a:lnTo>
                  <a:cubicBezTo>
                    <a:pt x="2172116" y="0"/>
                    <a:pt x="2196704" y="24588"/>
                    <a:pt x="2196704" y="54918"/>
                  </a:cubicBezTo>
                  <a:lnTo>
                    <a:pt x="2196704" y="494258"/>
                  </a:lnTo>
                  <a:cubicBezTo>
                    <a:pt x="2196704" y="524588"/>
                    <a:pt x="2172116" y="549176"/>
                    <a:pt x="2141786" y="549176"/>
                  </a:cubicBezTo>
                  <a:lnTo>
                    <a:pt x="54918" y="549176"/>
                  </a:lnTo>
                  <a:cubicBezTo>
                    <a:pt x="24588" y="549176"/>
                    <a:pt x="0" y="524588"/>
                    <a:pt x="0" y="494258"/>
                  </a:cubicBezTo>
                  <a:lnTo>
                    <a:pt x="0" y="54918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8785" tIns="28785" rIns="28785" bIns="28785" numCol="1" spcCol="1270" anchor="ctr" anchorCtr="0">
              <a:noAutofit/>
            </a:bodyPr>
            <a:lstStyle/>
            <a:p>
              <a:pPr marL="0" lvl="0" indent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000" kern="1200" dirty="0"/>
                <a:t>Define reference frames and assign coupling nodes to their respective reference frames</a:t>
              </a:r>
              <a:endParaRPr lang="en-DE" sz="1000" kern="1200" dirty="0"/>
            </a:p>
          </p:txBody>
        </p:sp>
        <p:sp>
          <p:nvSpPr>
            <p:cNvPr id="63" name="Arrow: Right 62">
              <a:extLst>
                <a:ext uri="{FF2B5EF4-FFF2-40B4-BE49-F238E27FC236}">
                  <a16:creationId xmlns:a16="http://schemas.microsoft.com/office/drawing/2014/main" id="{47884851-F9FD-AB41-FD25-28DF7A232FC6}"/>
                </a:ext>
              </a:extLst>
            </p:cNvPr>
            <p:cNvSpPr/>
            <p:nvPr/>
          </p:nvSpPr>
          <p:spPr>
            <a:xfrm rot="5400000">
              <a:off x="2304027" y="3163960"/>
              <a:ext cx="96105" cy="96105"/>
            </a:xfrm>
            <a:prstGeom prst="rightArrow">
              <a:avLst>
                <a:gd name="adj1" fmla="val 66700"/>
                <a:gd name="adj2" fmla="val 50000"/>
              </a:avLst>
            </a:pr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F1749175-8381-5F1F-2567-D8AD4F86B314}"/>
                </a:ext>
              </a:extLst>
            </p:cNvPr>
            <p:cNvSpPr/>
            <p:nvPr/>
          </p:nvSpPr>
          <p:spPr>
            <a:xfrm>
              <a:off x="1253728" y="3308119"/>
              <a:ext cx="2196704" cy="549176"/>
            </a:xfrm>
            <a:custGeom>
              <a:avLst/>
              <a:gdLst>
                <a:gd name="connsiteX0" fmla="*/ 0 w 2196704"/>
                <a:gd name="connsiteY0" fmla="*/ 54918 h 549176"/>
                <a:gd name="connsiteX1" fmla="*/ 54918 w 2196704"/>
                <a:gd name="connsiteY1" fmla="*/ 0 h 549176"/>
                <a:gd name="connsiteX2" fmla="*/ 2141786 w 2196704"/>
                <a:gd name="connsiteY2" fmla="*/ 0 h 549176"/>
                <a:gd name="connsiteX3" fmla="*/ 2196704 w 2196704"/>
                <a:gd name="connsiteY3" fmla="*/ 54918 h 549176"/>
                <a:gd name="connsiteX4" fmla="*/ 2196704 w 2196704"/>
                <a:gd name="connsiteY4" fmla="*/ 494258 h 549176"/>
                <a:gd name="connsiteX5" fmla="*/ 2141786 w 2196704"/>
                <a:gd name="connsiteY5" fmla="*/ 549176 h 549176"/>
                <a:gd name="connsiteX6" fmla="*/ 54918 w 2196704"/>
                <a:gd name="connsiteY6" fmla="*/ 549176 h 549176"/>
                <a:gd name="connsiteX7" fmla="*/ 0 w 2196704"/>
                <a:gd name="connsiteY7" fmla="*/ 494258 h 549176"/>
                <a:gd name="connsiteX8" fmla="*/ 0 w 2196704"/>
                <a:gd name="connsiteY8" fmla="*/ 54918 h 549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96704" h="549176">
                  <a:moveTo>
                    <a:pt x="0" y="54918"/>
                  </a:moveTo>
                  <a:cubicBezTo>
                    <a:pt x="0" y="24588"/>
                    <a:pt x="24588" y="0"/>
                    <a:pt x="54918" y="0"/>
                  </a:cubicBezTo>
                  <a:lnTo>
                    <a:pt x="2141786" y="0"/>
                  </a:lnTo>
                  <a:cubicBezTo>
                    <a:pt x="2172116" y="0"/>
                    <a:pt x="2196704" y="24588"/>
                    <a:pt x="2196704" y="54918"/>
                  </a:cubicBezTo>
                  <a:lnTo>
                    <a:pt x="2196704" y="494258"/>
                  </a:lnTo>
                  <a:cubicBezTo>
                    <a:pt x="2196704" y="524588"/>
                    <a:pt x="2172116" y="549176"/>
                    <a:pt x="2141786" y="549176"/>
                  </a:cubicBezTo>
                  <a:lnTo>
                    <a:pt x="54918" y="549176"/>
                  </a:lnTo>
                  <a:cubicBezTo>
                    <a:pt x="24588" y="549176"/>
                    <a:pt x="0" y="524588"/>
                    <a:pt x="0" y="494258"/>
                  </a:cubicBezTo>
                  <a:lnTo>
                    <a:pt x="0" y="54918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8785" tIns="28785" rIns="28785" bIns="28785" numCol="1" spcCol="1270" anchor="ctr" anchorCtr="0">
              <a:noAutofit/>
            </a:bodyPr>
            <a:lstStyle/>
            <a:p>
              <a:pPr marL="0" lvl="0" indent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000" kern="1200" dirty="0"/>
                <a:t>Define prescribed motions and assign to the reference frames</a:t>
              </a:r>
              <a:endParaRPr lang="en-DE" sz="1000" kern="1200" dirty="0"/>
            </a:p>
          </p:txBody>
        </p:sp>
        <p:sp>
          <p:nvSpPr>
            <p:cNvPr id="65" name="Arrow: Right 64">
              <a:extLst>
                <a:ext uri="{FF2B5EF4-FFF2-40B4-BE49-F238E27FC236}">
                  <a16:creationId xmlns:a16="http://schemas.microsoft.com/office/drawing/2014/main" id="{51DB6BF2-894C-F850-3D1E-F001BAD97B10}"/>
                </a:ext>
              </a:extLst>
            </p:cNvPr>
            <p:cNvSpPr/>
            <p:nvPr/>
          </p:nvSpPr>
          <p:spPr>
            <a:xfrm rot="5400000">
              <a:off x="2304027" y="3905348"/>
              <a:ext cx="96105" cy="96105"/>
            </a:xfrm>
            <a:prstGeom prst="rightArrow">
              <a:avLst>
                <a:gd name="adj1" fmla="val 66700"/>
                <a:gd name="adj2" fmla="val 50000"/>
              </a:avLst>
            </a:pr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7681E317-0872-E2E4-5258-04497B65611D}"/>
                </a:ext>
              </a:extLst>
            </p:cNvPr>
            <p:cNvSpPr/>
            <p:nvPr/>
          </p:nvSpPr>
          <p:spPr>
            <a:xfrm>
              <a:off x="1253728" y="4049507"/>
              <a:ext cx="2196704" cy="549176"/>
            </a:xfrm>
            <a:custGeom>
              <a:avLst/>
              <a:gdLst>
                <a:gd name="connsiteX0" fmla="*/ 0 w 2196704"/>
                <a:gd name="connsiteY0" fmla="*/ 54918 h 549176"/>
                <a:gd name="connsiteX1" fmla="*/ 54918 w 2196704"/>
                <a:gd name="connsiteY1" fmla="*/ 0 h 549176"/>
                <a:gd name="connsiteX2" fmla="*/ 2141786 w 2196704"/>
                <a:gd name="connsiteY2" fmla="*/ 0 h 549176"/>
                <a:gd name="connsiteX3" fmla="*/ 2196704 w 2196704"/>
                <a:gd name="connsiteY3" fmla="*/ 54918 h 549176"/>
                <a:gd name="connsiteX4" fmla="*/ 2196704 w 2196704"/>
                <a:gd name="connsiteY4" fmla="*/ 494258 h 549176"/>
                <a:gd name="connsiteX5" fmla="*/ 2141786 w 2196704"/>
                <a:gd name="connsiteY5" fmla="*/ 549176 h 549176"/>
                <a:gd name="connsiteX6" fmla="*/ 54918 w 2196704"/>
                <a:gd name="connsiteY6" fmla="*/ 549176 h 549176"/>
                <a:gd name="connsiteX7" fmla="*/ 0 w 2196704"/>
                <a:gd name="connsiteY7" fmla="*/ 494258 h 549176"/>
                <a:gd name="connsiteX8" fmla="*/ 0 w 2196704"/>
                <a:gd name="connsiteY8" fmla="*/ 54918 h 549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96704" h="549176">
                  <a:moveTo>
                    <a:pt x="0" y="54918"/>
                  </a:moveTo>
                  <a:cubicBezTo>
                    <a:pt x="0" y="24588"/>
                    <a:pt x="24588" y="0"/>
                    <a:pt x="54918" y="0"/>
                  </a:cubicBezTo>
                  <a:lnTo>
                    <a:pt x="2141786" y="0"/>
                  </a:lnTo>
                  <a:cubicBezTo>
                    <a:pt x="2172116" y="0"/>
                    <a:pt x="2196704" y="24588"/>
                    <a:pt x="2196704" y="54918"/>
                  </a:cubicBezTo>
                  <a:lnTo>
                    <a:pt x="2196704" y="494258"/>
                  </a:lnTo>
                  <a:cubicBezTo>
                    <a:pt x="2196704" y="524588"/>
                    <a:pt x="2172116" y="549176"/>
                    <a:pt x="2141786" y="549176"/>
                  </a:cubicBezTo>
                  <a:lnTo>
                    <a:pt x="54918" y="549176"/>
                  </a:lnTo>
                  <a:cubicBezTo>
                    <a:pt x="24588" y="549176"/>
                    <a:pt x="0" y="524588"/>
                    <a:pt x="0" y="494258"/>
                  </a:cubicBezTo>
                  <a:lnTo>
                    <a:pt x="0" y="54918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8785" tIns="28785" rIns="28785" bIns="28785" numCol="1" spcCol="1270" anchor="ctr" anchorCtr="0">
              <a:noAutofit/>
            </a:bodyPr>
            <a:lstStyle/>
            <a:p>
              <a:pPr marL="0" lvl="0" indent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000" kern="1200" dirty="0"/>
                <a:t>Calculate positions and velocities of all DoFs for each node in each time step</a:t>
              </a:r>
              <a:endParaRPr lang="en-DE" sz="1000" kern="1200" dirty="0"/>
            </a:p>
          </p:txBody>
        </p:sp>
        <p:sp>
          <p:nvSpPr>
            <p:cNvPr id="67" name="Arrow: Right 66">
              <a:extLst>
                <a:ext uri="{FF2B5EF4-FFF2-40B4-BE49-F238E27FC236}">
                  <a16:creationId xmlns:a16="http://schemas.microsoft.com/office/drawing/2014/main" id="{5A77FBF3-2C58-0E7D-FD8E-1B63D4E9732C}"/>
                </a:ext>
              </a:extLst>
            </p:cNvPr>
            <p:cNvSpPr/>
            <p:nvPr/>
          </p:nvSpPr>
          <p:spPr>
            <a:xfrm rot="5400000">
              <a:off x="2304027" y="4646735"/>
              <a:ext cx="96105" cy="96105"/>
            </a:xfrm>
            <a:prstGeom prst="rightArrow">
              <a:avLst>
                <a:gd name="adj1" fmla="val 66700"/>
                <a:gd name="adj2" fmla="val 50000"/>
              </a:avLst>
            </a:pr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807281AD-0911-DC61-6D44-AC943F035A4E}"/>
                </a:ext>
              </a:extLst>
            </p:cNvPr>
            <p:cNvSpPr/>
            <p:nvPr/>
          </p:nvSpPr>
          <p:spPr>
            <a:xfrm>
              <a:off x="1253728" y="4790894"/>
              <a:ext cx="2196704" cy="549176"/>
            </a:xfrm>
            <a:custGeom>
              <a:avLst/>
              <a:gdLst>
                <a:gd name="connsiteX0" fmla="*/ 0 w 2196704"/>
                <a:gd name="connsiteY0" fmla="*/ 54918 h 549176"/>
                <a:gd name="connsiteX1" fmla="*/ 54918 w 2196704"/>
                <a:gd name="connsiteY1" fmla="*/ 0 h 549176"/>
                <a:gd name="connsiteX2" fmla="*/ 2141786 w 2196704"/>
                <a:gd name="connsiteY2" fmla="*/ 0 h 549176"/>
                <a:gd name="connsiteX3" fmla="*/ 2196704 w 2196704"/>
                <a:gd name="connsiteY3" fmla="*/ 54918 h 549176"/>
                <a:gd name="connsiteX4" fmla="*/ 2196704 w 2196704"/>
                <a:gd name="connsiteY4" fmla="*/ 494258 h 549176"/>
                <a:gd name="connsiteX5" fmla="*/ 2141786 w 2196704"/>
                <a:gd name="connsiteY5" fmla="*/ 549176 h 549176"/>
                <a:gd name="connsiteX6" fmla="*/ 54918 w 2196704"/>
                <a:gd name="connsiteY6" fmla="*/ 549176 h 549176"/>
                <a:gd name="connsiteX7" fmla="*/ 0 w 2196704"/>
                <a:gd name="connsiteY7" fmla="*/ 494258 h 549176"/>
                <a:gd name="connsiteX8" fmla="*/ 0 w 2196704"/>
                <a:gd name="connsiteY8" fmla="*/ 54918 h 549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96704" h="549176">
                  <a:moveTo>
                    <a:pt x="0" y="54918"/>
                  </a:moveTo>
                  <a:cubicBezTo>
                    <a:pt x="0" y="24588"/>
                    <a:pt x="24588" y="0"/>
                    <a:pt x="54918" y="0"/>
                  </a:cubicBezTo>
                  <a:lnTo>
                    <a:pt x="2141786" y="0"/>
                  </a:lnTo>
                  <a:cubicBezTo>
                    <a:pt x="2172116" y="0"/>
                    <a:pt x="2196704" y="24588"/>
                    <a:pt x="2196704" y="54918"/>
                  </a:cubicBezTo>
                  <a:lnTo>
                    <a:pt x="2196704" y="494258"/>
                  </a:lnTo>
                  <a:cubicBezTo>
                    <a:pt x="2196704" y="524588"/>
                    <a:pt x="2172116" y="549176"/>
                    <a:pt x="2141786" y="549176"/>
                  </a:cubicBezTo>
                  <a:lnTo>
                    <a:pt x="54918" y="549176"/>
                  </a:lnTo>
                  <a:cubicBezTo>
                    <a:pt x="24588" y="549176"/>
                    <a:pt x="0" y="524588"/>
                    <a:pt x="0" y="494258"/>
                  </a:cubicBezTo>
                  <a:lnTo>
                    <a:pt x="0" y="54918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8785" tIns="28785" rIns="28785" bIns="28785" numCol="1" spcCol="1270" anchor="ctr" anchorCtr="0">
              <a:noAutofit/>
            </a:bodyPr>
            <a:lstStyle/>
            <a:p>
              <a:pPr marL="0" lvl="0" indent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1000" kern="1200" noProof="0" dirty="0"/>
                <a:t>Initialise adapter</a:t>
              </a:r>
              <a:r>
                <a:rPr lang="en-US" sz="1000" kern="1200" dirty="0"/>
                <a:t> and begin coupling with DUST</a:t>
              </a:r>
              <a:endParaRPr lang="en-DE" sz="1000" kern="1200" dirty="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56C688F-4CD6-E879-4234-3513AA192C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 Methodology</a:t>
            </a:r>
            <a:endParaRPr lang="en-D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7F6C854-5180-31F5-F41D-18B843E9347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Motion Solver</a:t>
            </a:r>
            <a:endParaRPr lang="en-D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31C45BC-296E-C32C-EAE4-F6A78FF43A4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163277" y="3073528"/>
            <a:ext cx="4392488" cy="2335529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E144F53-41AF-AE4B-E380-FA7C75DF91DD}"/>
              </a:ext>
            </a:extLst>
          </p:cNvPr>
          <p:cNvCxnSpPr/>
          <p:nvPr/>
        </p:nvCxnSpPr>
        <p:spPr>
          <a:xfrm flipV="1">
            <a:off x="7554729" y="4650775"/>
            <a:ext cx="0" cy="370851"/>
          </a:xfrm>
          <a:prstGeom prst="line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E18A632-6B29-5F0D-818B-D7E77D0A5CE8}"/>
              </a:ext>
            </a:extLst>
          </p:cNvPr>
          <p:cNvCxnSpPr>
            <a:cxnSpLocks/>
          </p:cNvCxnSpPr>
          <p:nvPr/>
        </p:nvCxnSpPr>
        <p:spPr>
          <a:xfrm flipH="1" flipV="1">
            <a:off x="7327730" y="4836200"/>
            <a:ext cx="226999" cy="185425"/>
          </a:xfrm>
          <a:prstGeom prst="line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97951B5-8E63-86CE-A88D-6905BE27EEA9}"/>
              </a:ext>
            </a:extLst>
          </p:cNvPr>
          <p:cNvCxnSpPr/>
          <p:nvPr/>
        </p:nvCxnSpPr>
        <p:spPr>
          <a:xfrm flipV="1">
            <a:off x="7554729" y="4952091"/>
            <a:ext cx="289787" cy="69534"/>
          </a:xfrm>
          <a:prstGeom prst="line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0C94CE7-F7FF-60B9-E887-9A9499D5787D}"/>
              </a:ext>
            </a:extLst>
          </p:cNvPr>
          <p:cNvCxnSpPr/>
          <p:nvPr/>
        </p:nvCxnSpPr>
        <p:spPr>
          <a:xfrm flipV="1">
            <a:off x="6882425" y="4836200"/>
            <a:ext cx="0" cy="370851"/>
          </a:xfrm>
          <a:prstGeom prst="line">
            <a:avLst/>
          </a:prstGeom>
          <a:ln>
            <a:solidFill>
              <a:srgbClr val="FF9900"/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80A5920-0219-7DE6-62DC-A3454EBE1442}"/>
              </a:ext>
            </a:extLst>
          </p:cNvPr>
          <p:cNvCxnSpPr>
            <a:cxnSpLocks/>
          </p:cNvCxnSpPr>
          <p:nvPr/>
        </p:nvCxnSpPr>
        <p:spPr>
          <a:xfrm flipH="1" flipV="1">
            <a:off x="6675603" y="5021625"/>
            <a:ext cx="206822" cy="185426"/>
          </a:xfrm>
          <a:prstGeom prst="line">
            <a:avLst/>
          </a:prstGeom>
          <a:ln>
            <a:solidFill>
              <a:srgbClr val="FF9900"/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8831EF6-A2C7-624C-E853-45C47BB353EB}"/>
              </a:ext>
            </a:extLst>
          </p:cNvPr>
          <p:cNvCxnSpPr/>
          <p:nvPr/>
        </p:nvCxnSpPr>
        <p:spPr>
          <a:xfrm flipV="1">
            <a:off x="6882424" y="5137517"/>
            <a:ext cx="289787" cy="69534"/>
          </a:xfrm>
          <a:prstGeom prst="line">
            <a:avLst/>
          </a:prstGeom>
          <a:ln>
            <a:solidFill>
              <a:srgbClr val="FF9900"/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4822FF1E-B85B-CB86-59C4-D08DD562FCD3}"/>
              </a:ext>
            </a:extLst>
          </p:cNvPr>
          <p:cNvSpPr/>
          <p:nvPr/>
        </p:nvSpPr>
        <p:spPr>
          <a:xfrm>
            <a:off x="7521886" y="4986858"/>
            <a:ext cx="65685" cy="61808"/>
          </a:xfrm>
          <a:prstGeom prst="ellipse">
            <a:avLst/>
          </a:prstGeom>
          <a:solidFill>
            <a:srgbClr val="FF0000"/>
          </a:solidFill>
          <a:ln w="1524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27578DDD-7671-582C-378A-A66740710F69}"/>
              </a:ext>
            </a:extLst>
          </p:cNvPr>
          <p:cNvSpPr/>
          <p:nvPr/>
        </p:nvSpPr>
        <p:spPr>
          <a:xfrm>
            <a:off x="6230725" y="4004884"/>
            <a:ext cx="65685" cy="61808"/>
          </a:xfrm>
          <a:prstGeom prst="ellipse">
            <a:avLst/>
          </a:prstGeom>
          <a:solidFill>
            <a:srgbClr val="FF0000"/>
          </a:solidFill>
          <a:ln w="1524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8A529223-220E-D14C-C1DB-B9DDA82A6B22}"/>
              </a:ext>
            </a:extLst>
          </p:cNvPr>
          <p:cNvSpPr/>
          <p:nvPr/>
        </p:nvSpPr>
        <p:spPr>
          <a:xfrm>
            <a:off x="6816739" y="4438308"/>
            <a:ext cx="65685" cy="61808"/>
          </a:xfrm>
          <a:prstGeom prst="ellipse">
            <a:avLst/>
          </a:prstGeom>
          <a:solidFill>
            <a:srgbClr val="FF0000"/>
          </a:solidFill>
          <a:ln w="1524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7667FC1-47A9-FBA3-9904-957DF84200FA}"/>
              </a:ext>
            </a:extLst>
          </p:cNvPr>
          <p:cNvSpPr/>
          <p:nvPr/>
        </p:nvSpPr>
        <p:spPr>
          <a:xfrm>
            <a:off x="7152892" y="4702818"/>
            <a:ext cx="65685" cy="61808"/>
          </a:xfrm>
          <a:prstGeom prst="ellipse">
            <a:avLst/>
          </a:prstGeom>
          <a:solidFill>
            <a:srgbClr val="FF0000"/>
          </a:solidFill>
          <a:ln w="1524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33A1A8F-CF7A-B42A-F4D3-83BC37A82341}"/>
              </a:ext>
            </a:extLst>
          </p:cNvPr>
          <p:cNvSpPr/>
          <p:nvPr/>
        </p:nvSpPr>
        <p:spPr>
          <a:xfrm>
            <a:off x="5712546" y="3631363"/>
            <a:ext cx="65685" cy="61808"/>
          </a:xfrm>
          <a:prstGeom prst="ellipse">
            <a:avLst/>
          </a:prstGeom>
          <a:solidFill>
            <a:srgbClr val="FF0000"/>
          </a:solidFill>
          <a:ln w="1524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F19AB03-41AB-BAB6-AD83-18E5D1D3A1A4}"/>
              </a:ext>
            </a:extLst>
          </p:cNvPr>
          <p:cNvSpPr/>
          <p:nvPr/>
        </p:nvSpPr>
        <p:spPr>
          <a:xfrm>
            <a:off x="5965411" y="3817647"/>
            <a:ext cx="65685" cy="61808"/>
          </a:xfrm>
          <a:prstGeom prst="ellipse">
            <a:avLst/>
          </a:prstGeom>
          <a:solidFill>
            <a:srgbClr val="FF0000"/>
          </a:solidFill>
          <a:ln w="1524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D181A7DB-B287-881C-962B-3AD1B3BE20E4}"/>
              </a:ext>
            </a:extLst>
          </p:cNvPr>
          <p:cNvSpPr/>
          <p:nvPr/>
        </p:nvSpPr>
        <p:spPr>
          <a:xfrm>
            <a:off x="5463007" y="3448406"/>
            <a:ext cx="65685" cy="61808"/>
          </a:xfrm>
          <a:prstGeom prst="ellipse">
            <a:avLst/>
          </a:prstGeom>
          <a:solidFill>
            <a:srgbClr val="FF0000"/>
          </a:solidFill>
          <a:ln w="1524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10D177FE-921F-2103-2F06-CF50F6F380B7}"/>
              </a:ext>
            </a:extLst>
          </p:cNvPr>
          <p:cNvSpPr/>
          <p:nvPr/>
        </p:nvSpPr>
        <p:spPr>
          <a:xfrm>
            <a:off x="5206815" y="3255469"/>
            <a:ext cx="65685" cy="61808"/>
          </a:xfrm>
          <a:prstGeom prst="ellipse">
            <a:avLst/>
          </a:prstGeom>
          <a:solidFill>
            <a:srgbClr val="FF0000"/>
          </a:solidFill>
          <a:ln w="1524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AEB59AD-10AD-18E1-D6F7-EBC93E0B9001}"/>
              </a:ext>
            </a:extLst>
          </p:cNvPr>
          <p:cNvSpPr/>
          <p:nvPr/>
        </p:nvSpPr>
        <p:spPr>
          <a:xfrm>
            <a:off x="6517723" y="4210389"/>
            <a:ext cx="65685" cy="61808"/>
          </a:xfrm>
          <a:prstGeom prst="ellipse">
            <a:avLst/>
          </a:prstGeom>
          <a:solidFill>
            <a:srgbClr val="FF0000"/>
          </a:solidFill>
          <a:ln w="158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24F5AD5-64B5-9DA5-FCAB-150C8C9CEB09}"/>
              </a:ext>
            </a:extLst>
          </p:cNvPr>
          <p:cNvCxnSpPr>
            <a:cxnSpLocks/>
          </p:cNvCxnSpPr>
          <p:nvPr/>
        </p:nvCxnSpPr>
        <p:spPr>
          <a:xfrm>
            <a:off x="6263570" y="4034138"/>
            <a:ext cx="0" cy="278352"/>
          </a:xfrm>
          <a:prstGeom prst="line">
            <a:avLst/>
          </a:prstGeom>
          <a:ln>
            <a:solidFill>
              <a:srgbClr val="00B050"/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728C856F-EDAB-224F-4D4A-61817CEF63C9}"/>
              </a:ext>
            </a:extLst>
          </p:cNvPr>
          <p:cNvCxnSpPr>
            <a:cxnSpLocks/>
          </p:cNvCxnSpPr>
          <p:nvPr/>
        </p:nvCxnSpPr>
        <p:spPr>
          <a:xfrm flipH="1" flipV="1">
            <a:off x="6031097" y="3855419"/>
            <a:ext cx="232473" cy="178719"/>
          </a:xfrm>
          <a:prstGeom prst="line">
            <a:avLst/>
          </a:prstGeom>
          <a:ln>
            <a:solidFill>
              <a:srgbClr val="00B050"/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55629AC-B6F7-752F-F988-4D89DD0A7FBE}"/>
              </a:ext>
            </a:extLst>
          </p:cNvPr>
          <p:cNvCxnSpPr>
            <a:cxnSpLocks/>
          </p:cNvCxnSpPr>
          <p:nvPr/>
        </p:nvCxnSpPr>
        <p:spPr>
          <a:xfrm flipH="1">
            <a:off x="5965411" y="4034138"/>
            <a:ext cx="298158" cy="82089"/>
          </a:xfrm>
          <a:prstGeom prst="line">
            <a:avLst/>
          </a:prstGeom>
          <a:ln>
            <a:solidFill>
              <a:srgbClr val="00B050"/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160F395-F877-63C1-3AD5-1E2CEEA2918B}"/>
              </a:ext>
            </a:extLst>
          </p:cNvPr>
          <p:cNvCxnSpPr>
            <a:cxnSpLocks/>
          </p:cNvCxnSpPr>
          <p:nvPr/>
        </p:nvCxnSpPr>
        <p:spPr>
          <a:xfrm>
            <a:off x="4792957" y="4140587"/>
            <a:ext cx="0" cy="278352"/>
          </a:xfrm>
          <a:prstGeom prst="line">
            <a:avLst/>
          </a:prstGeom>
          <a:ln>
            <a:solidFill>
              <a:srgbClr val="7030A0"/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9D48218-C0CA-BCCB-CEC9-91498919355B}"/>
              </a:ext>
            </a:extLst>
          </p:cNvPr>
          <p:cNvCxnSpPr>
            <a:cxnSpLocks/>
          </p:cNvCxnSpPr>
          <p:nvPr/>
        </p:nvCxnSpPr>
        <p:spPr>
          <a:xfrm flipH="1" flipV="1">
            <a:off x="4626061" y="3965194"/>
            <a:ext cx="166896" cy="175393"/>
          </a:xfrm>
          <a:prstGeom prst="line">
            <a:avLst/>
          </a:prstGeom>
          <a:ln>
            <a:solidFill>
              <a:srgbClr val="7030A0"/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413F827-A9A8-DF99-5315-933A64EC6CA5}"/>
              </a:ext>
            </a:extLst>
          </p:cNvPr>
          <p:cNvCxnSpPr>
            <a:cxnSpLocks/>
          </p:cNvCxnSpPr>
          <p:nvPr/>
        </p:nvCxnSpPr>
        <p:spPr>
          <a:xfrm flipH="1">
            <a:off x="4494799" y="4140587"/>
            <a:ext cx="298158" cy="82089"/>
          </a:xfrm>
          <a:prstGeom prst="line">
            <a:avLst/>
          </a:prstGeom>
          <a:ln>
            <a:solidFill>
              <a:srgbClr val="7030A0"/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28" name="Oval 27">
            <a:extLst>
              <a:ext uri="{FF2B5EF4-FFF2-40B4-BE49-F238E27FC236}">
                <a16:creationId xmlns:a16="http://schemas.microsoft.com/office/drawing/2014/main" id="{798595A6-1481-9A8E-E2C0-493096256B69}"/>
              </a:ext>
            </a:extLst>
          </p:cNvPr>
          <p:cNvSpPr/>
          <p:nvPr/>
        </p:nvSpPr>
        <p:spPr>
          <a:xfrm>
            <a:off x="4757819" y="4111506"/>
            <a:ext cx="65685" cy="61808"/>
          </a:xfrm>
          <a:prstGeom prst="ellipse">
            <a:avLst/>
          </a:prstGeom>
          <a:solidFill>
            <a:srgbClr val="7030A0"/>
          </a:solidFill>
          <a:ln w="15240">
            <a:solidFill>
              <a:srgbClr val="50164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909DDA06-7CF5-F04A-A0C7-AC50F1DF85D7}"/>
              </a:ext>
            </a:extLst>
          </p:cNvPr>
          <p:cNvCxnSpPr>
            <a:cxnSpLocks/>
          </p:cNvCxnSpPr>
          <p:nvPr/>
        </p:nvCxnSpPr>
        <p:spPr>
          <a:xfrm flipH="1">
            <a:off x="6882424" y="5021625"/>
            <a:ext cx="672304" cy="185426"/>
          </a:xfrm>
          <a:prstGeom prst="line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3544F61D-55D3-A87C-BE99-D10712F03CCF}"/>
              </a:ext>
            </a:extLst>
          </p:cNvPr>
          <p:cNvCxnSpPr>
            <a:cxnSpLocks/>
          </p:cNvCxnSpPr>
          <p:nvPr/>
        </p:nvCxnSpPr>
        <p:spPr>
          <a:xfrm flipH="1" flipV="1">
            <a:off x="6263569" y="4034138"/>
            <a:ext cx="1291159" cy="984188"/>
          </a:xfrm>
          <a:prstGeom prst="line">
            <a:avLst/>
          </a:prstGeom>
          <a:ln w="6350">
            <a:solidFill>
              <a:srgbClr val="00B050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289A3EC-0DEE-2130-75EB-3ADE79346082}"/>
              </a:ext>
            </a:extLst>
          </p:cNvPr>
          <p:cNvCxnSpPr>
            <a:cxnSpLocks/>
          </p:cNvCxnSpPr>
          <p:nvPr/>
        </p:nvCxnSpPr>
        <p:spPr>
          <a:xfrm flipV="1">
            <a:off x="4790664" y="4030840"/>
            <a:ext cx="1472904" cy="109747"/>
          </a:xfrm>
          <a:prstGeom prst="line">
            <a:avLst/>
          </a:prstGeom>
          <a:ln w="6350">
            <a:solidFill>
              <a:srgbClr val="7030A0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6A98C110-05B5-C731-AE1C-03467C639807}"/>
              </a:ext>
            </a:extLst>
          </p:cNvPr>
          <p:cNvSpPr txBox="1"/>
          <p:nvPr/>
        </p:nvSpPr>
        <p:spPr>
          <a:xfrm>
            <a:off x="7074189" y="4924469"/>
            <a:ext cx="7242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FF9900"/>
                </a:solidFill>
              </a:rPr>
              <a:t>X</a:t>
            </a:r>
            <a:endParaRPr lang="en-DE" sz="1000" dirty="0">
              <a:solidFill>
                <a:srgbClr val="FF99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0E45435-50E4-3D35-9C49-2659BEA628C8}"/>
              </a:ext>
            </a:extLst>
          </p:cNvPr>
          <p:cNvSpPr txBox="1"/>
          <p:nvPr/>
        </p:nvSpPr>
        <p:spPr>
          <a:xfrm>
            <a:off x="6855494" y="4707702"/>
            <a:ext cx="155519" cy="24622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FF9900"/>
                </a:solidFill>
              </a:rPr>
              <a:t>Z</a:t>
            </a:r>
            <a:endParaRPr lang="en-DE" sz="1000" dirty="0">
              <a:solidFill>
                <a:srgbClr val="FF9900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ADE19B2-0940-5D52-FAFD-F6480AF60037}"/>
              </a:ext>
            </a:extLst>
          </p:cNvPr>
          <p:cNvSpPr txBox="1"/>
          <p:nvPr/>
        </p:nvSpPr>
        <p:spPr>
          <a:xfrm>
            <a:off x="6583408" y="4826102"/>
            <a:ext cx="16146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FF9900"/>
                </a:solidFill>
              </a:rPr>
              <a:t>Y</a:t>
            </a:r>
            <a:endParaRPr lang="en-DE" sz="1000" dirty="0">
              <a:solidFill>
                <a:srgbClr val="FF9900"/>
              </a:solidFill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1E8765CC-7115-9614-38D0-76783C73309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127" b="4006"/>
          <a:stretch/>
        </p:blipFill>
        <p:spPr bwMode="auto">
          <a:xfrm>
            <a:off x="4863978" y="153314"/>
            <a:ext cx="4643519" cy="2770671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E266A490-3F7D-DC9A-23FD-25C0FCE28D84}"/>
              </a:ext>
            </a:extLst>
          </p:cNvPr>
          <p:cNvCxnSpPr>
            <a:cxnSpLocks/>
          </p:cNvCxnSpPr>
          <p:nvPr/>
        </p:nvCxnSpPr>
        <p:spPr>
          <a:xfrm>
            <a:off x="4771843" y="2857500"/>
            <a:ext cx="0" cy="216024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68FEAB37-CABD-0CCC-6C29-BF4234679607}"/>
              </a:ext>
            </a:extLst>
          </p:cNvPr>
          <p:cNvCxnSpPr>
            <a:cxnSpLocks/>
          </p:cNvCxnSpPr>
          <p:nvPr/>
        </p:nvCxnSpPr>
        <p:spPr>
          <a:xfrm>
            <a:off x="3670853" y="1642944"/>
            <a:ext cx="1356017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40ADD0C3-F285-B8F3-918D-52AB785ED383}"/>
              </a:ext>
            </a:extLst>
          </p:cNvPr>
          <p:cNvCxnSpPr/>
          <p:nvPr/>
        </p:nvCxnSpPr>
        <p:spPr>
          <a:xfrm>
            <a:off x="3509851" y="2857500"/>
            <a:ext cx="1261995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70301BB-4B27-FA44-6A2D-B0416A4662DB}"/>
              </a:ext>
            </a:extLst>
          </p:cNvPr>
          <p:cNvCxnSpPr>
            <a:cxnSpLocks/>
          </p:cNvCxnSpPr>
          <p:nvPr/>
        </p:nvCxnSpPr>
        <p:spPr>
          <a:xfrm flipH="1">
            <a:off x="3658718" y="1642945"/>
            <a:ext cx="12135" cy="345696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34A349AC-6BB8-C628-A8B4-82010796FD73}"/>
              </a:ext>
            </a:extLst>
          </p:cNvPr>
          <p:cNvCxnSpPr/>
          <p:nvPr/>
        </p:nvCxnSpPr>
        <p:spPr>
          <a:xfrm flipH="1">
            <a:off x="3509849" y="5099909"/>
            <a:ext cx="148868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5D492DB5-FF30-E7D9-76E0-29B6F1668ECC}"/>
              </a:ext>
            </a:extLst>
          </p:cNvPr>
          <p:cNvCxnSpPr>
            <a:cxnSpLocks/>
          </p:cNvCxnSpPr>
          <p:nvPr/>
        </p:nvCxnSpPr>
        <p:spPr>
          <a:xfrm>
            <a:off x="924633" y="2114741"/>
            <a:ext cx="6426" cy="2197749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D3F7BA25-6FB6-A007-B07A-610EEFA6A92D}"/>
              </a:ext>
            </a:extLst>
          </p:cNvPr>
          <p:cNvCxnSpPr>
            <a:cxnSpLocks/>
          </p:cNvCxnSpPr>
          <p:nvPr/>
        </p:nvCxnSpPr>
        <p:spPr>
          <a:xfrm>
            <a:off x="931059" y="4312490"/>
            <a:ext cx="23987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2418871-75D1-15EE-39BB-0AB1F9CE62C3}"/>
              </a:ext>
            </a:extLst>
          </p:cNvPr>
          <p:cNvCxnSpPr>
            <a:cxnSpLocks/>
          </p:cNvCxnSpPr>
          <p:nvPr/>
        </p:nvCxnSpPr>
        <p:spPr>
          <a:xfrm>
            <a:off x="931058" y="2114741"/>
            <a:ext cx="239874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68BD3595-11DC-FF97-70B3-90AEA71A6828}"/>
              </a:ext>
            </a:extLst>
          </p:cNvPr>
          <p:cNvCxnSpPr>
            <a:cxnSpLocks/>
          </p:cNvCxnSpPr>
          <p:nvPr/>
        </p:nvCxnSpPr>
        <p:spPr>
          <a:xfrm>
            <a:off x="759520" y="3178770"/>
            <a:ext cx="16511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A4AEF788-EF44-B7A3-332C-C382F336B1F0}"/>
              </a:ext>
            </a:extLst>
          </p:cNvPr>
          <p:cNvSpPr txBox="1"/>
          <p:nvPr/>
        </p:nvSpPr>
        <p:spPr>
          <a:xfrm>
            <a:off x="-4858" y="2979294"/>
            <a:ext cx="8595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00" b="1" dirty="0">
                <a:latin typeface="+mn-lt"/>
              </a:rPr>
              <a:t>Max Time:</a:t>
            </a:r>
          </a:p>
          <a:p>
            <a:pPr algn="ctr"/>
            <a:r>
              <a:rPr lang="en-GB" sz="900" b="1" dirty="0">
                <a:latin typeface="+mn-lt"/>
              </a:rPr>
              <a:t>1min</a:t>
            </a:r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0859D4F5-5453-D1FA-6A62-98EEF9D69CF1}"/>
              </a:ext>
            </a:extLst>
          </p:cNvPr>
          <p:cNvCxnSpPr>
            <a:cxnSpLocks/>
          </p:cNvCxnSpPr>
          <p:nvPr/>
        </p:nvCxnSpPr>
        <p:spPr>
          <a:xfrm>
            <a:off x="837765" y="5062307"/>
            <a:ext cx="33316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>
            <a:extLst>
              <a:ext uri="{FF2B5EF4-FFF2-40B4-BE49-F238E27FC236}">
                <a16:creationId xmlns:a16="http://schemas.microsoft.com/office/drawing/2014/main" id="{9D9E89A3-FC1A-568E-9AAE-CDE266654F1A}"/>
              </a:ext>
            </a:extLst>
          </p:cNvPr>
          <p:cNvSpPr txBox="1"/>
          <p:nvPr/>
        </p:nvSpPr>
        <p:spPr>
          <a:xfrm>
            <a:off x="26487" y="4915243"/>
            <a:ext cx="8595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00" b="1" dirty="0">
                <a:latin typeface="+mn-lt"/>
              </a:rPr>
              <a:t>Max Time:</a:t>
            </a:r>
          </a:p>
          <a:p>
            <a:pPr algn="ctr"/>
            <a:r>
              <a:rPr lang="en-GB" sz="900" b="1" dirty="0">
                <a:latin typeface="+mn-lt"/>
              </a:rPr>
              <a:t>0.2s</a:t>
            </a:r>
          </a:p>
        </p:txBody>
      </p:sp>
    </p:spTree>
    <p:extLst>
      <p:ext uri="{BB962C8B-B14F-4D97-AF65-F5344CB8AC3E}">
        <p14:creationId xmlns:p14="http://schemas.microsoft.com/office/powerpoint/2010/main" val="6165143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7" fill="hold">
                      <p:stCondLst>
                        <p:cond delay="indefinite"/>
                      </p:stCondLst>
                      <p:childTnLst>
                        <p:par>
                          <p:cTn id="108" fill="hold">
                            <p:stCondLst>
                              <p:cond delay="0"/>
                            </p:stCondLst>
                            <p:childTnLst>
                              <p:par>
                                <p:cTn id="10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9" fill="hold">
                      <p:stCondLst>
                        <p:cond delay="indefinite"/>
                      </p:stCondLst>
                      <p:childTnLst>
                        <p:par>
                          <p:cTn id="120" fill="hold">
                            <p:stCondLst>
                              <p:cond delay="0"/>
                            </p:stCondLst>
                            <p:childTnLst>
                              <p:par>
                                <p:cTn id="1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 animBg="1"/>
      <p:bldP spid="48" grpId="0" animBg="1"/>
      <p:bldP spid="49" grpId="0" animBg="1"/>
      <p:bldP spid="51" grpId="0" animBg="1"/>
      <p:bldP spid="52" grpId="0" animBg="1"/>
      <p:bldP spid="53" grpId="0" animBg="1"/>
      <p:bldP spid="55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8" grpId="0" animBg="1"/>
      <p:bldP spid="32" grpId="0"/>
      <p:bldP spid="33" grpId="0"/>
      <p:bldP spid="34" grpId="0"/>
      <p:bldP spid="69" grpId="0"/>
      <p:bldP spid="7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6cd991bf-f022-4378-96e7-2c338aeb3f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cxYVnSqSHvuYdMjwu0bA"/>
</p:tagLst>
</file>

<file path=ppt/theme/theme1.xml><?xml version="1.0" encoding="utf-8"?>
<a:theme xmlns:a="http://schemas.openxmlformats.org/drawingml/2006/main" name="1_FHAAC Design schwarz auf weiß">
  <a:themeElements>
    <a:clrScheme name="FHAAC Farben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B1AC"/>
      </a:accent1>
      <a:accent2>
        <a:srgbClr val="13A39A"/>
      </a:accent2>
      <a:accent3>
        <a:srgbClr val="0C9088"/>
      </a:accent3>
      <a:accent4>
        <a:srgbClr val="006D68"/>
      </a:accent4>
      <a:accent5>
        <a:srgbClr val="004744"/>
      </a:accent5>
      <a:accent6>
        <a:srgbClr val="000000"/>
      </a:accent6>
      <a:hlink>
        <a:srgbClr val="0000FF"/>
      </a:hlink>
      <a:folHlink>
        <a:srgbClr val="800080"/>
      </a:folHlink>
    </a:clrScheme>
    <a:fontScheme name="FHAAC Schrif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885</TotalTime>
  <Words>3371</Words>
  <Application>Microsoft Office PowerPoint</Application>
  <PresentationFormat>Custom</PresentationFormat>
  <Paragraphs>550</Paragraphs>
  <Slides>34</Slides>
  <Notes>3</Notes>
  <HiddenSlides>0</HiddenSlides>
  <MMClips>18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2" baseType="lpstr">
      <vt:lpstr>Arial</vt:lpstr>
      <vt:lpstr>Calibri</vt:lpstr>
      <vt:lpstr>Cambria Math</vt:lpstr>
      <vt:lpstr>Symbol</vt:lpstr>
      <vt:lpstr>Verdana</vt:lpstr>
      <vt:lpstr>Wingdings</vt:lpstr>
      <vt:lpstr>1_FHAAC Design schwarz auf weiß</vt:lpstr>
      <vt:lpstr>think-cell Folie</vt:lpstr>
      <vt:lpstr>PowerPoint Presentation</vt:lpstr>
      <vt:lpstr>Workflow</vt:lpstr>
      <vt:lpstr>Introduction</vt:lpstr>
      <vt:lpstr>Thesis Objectives</vt:lpstr>
      <vt:lpstr>Fundamentals</vt:lpstr>
      <vt:lpstr>Fundamentals</vt:lpstr>
      <vt:lpstr>Fundamentals</vt:lpstr>
      <vt:lpstr>Simulation Methodology</vt:lpstr>
      <vt:lpstr>Simulation Methodology</vt:lpstr>
      <vt:lpstr>Aerodynamic Investigation: Simple Motions</vt:lpstr>
      <vt:lpstr>Aerodynamic Investigation: Simple Motions</vt:lpstr>
      <vt:lpstr>Aerodynamic Investigation: Simple Motions</vt:lpstr>
      <vt:lpstr>Aerodynamic Investigation: Simple Motions</vt:lpstr>
      <vt:lpstr>Aerodynamic Investigation: Simple Motions</vt:lpstr>
      <vt:lpstr>Aerodynamic Investigation: Simple Motions</vt:lpstr>
      <vt:lpstr>Aerodynamic Investigation: Simple Motions</vt:lpstr>
      <vt:lpstr>Aerodynamic Investigation: Complex Modes</vt:lpstr>
      <vt:lpstr>Aerodynamic Investigation: Complex Modes</vt:lpstr>
      <vt:lpstr>Conclusions</vt:lpstr>
      <vt:lpstr>Outlook</vt:lpstr>
      <vt:lpstr>PowerPoint Presentation</vt:lpstr>
      <vt:lpstr>Simulation Methodology</vt:lpstr>
      <vt:lpstr>Validation Studies</vt:lpstr>
      <vt:lpstr>Validation Studies</vt:lpstr>
      <vt:lpstr>Fundamentals and Validation Studies</vt:lpstr>
      <vt:lpstr>Validation Studies</vt:lpstr>
      <vt:lpstr>Validation Studies</vt:lpstr>
      <vt:lpstr>Validation Studies</vt:lpstr>
      <vt:lpstr>Validation Studies</vt:lpstr>
      <vt:lpstr>Validation Studies</vt:lpstr>
      <vt:lpstr>Aerodynamic Investigation: Simple Motions</vt:lpstr>
      <vt:lpstr>Aerodynamic Investigation: Simple Motions</vt:lpstr>
      <vt:lpstr>Aerodynamic Investigation: Complex Modes</vt:lpstr>
      <vt:lpstr>Aerodynamic Investigation: Complex Mod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boehnisch@fh-aachen.de</dc:creator>
  <cp:lastModifiedBy>Ashwin Sunder</cp:lastModifiedBy>
  <cp:revision>425</cp:revision>
  <cp:lastPrinted>2018-02-27T16:01:21Z</cp:lastPrinted>
  <dcterms:created xsi:type="dcterms:W3CDTF">2009-12-03T15:23:18Z</dcterms:created>
  <dcterms:modified xsi:type="dcterms:W3CDTF">2024-09-30T11:53:32Z</dcterms:modified>
</cp:coreProperties>
</file>